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6" r:id="rId1"/>
  </p:sldMasterIdLst>
  <p:notesMasterIdLst>
    <p:notesMasterId r:id="rId24"/>
  </p:notesMasterIdLst>
  <p:sldIdLst>
    <p:sldId id="256" r:id="rId2"/>
    <p:sldId id="371" r:id="rId3"/>
    <p:sldId id="373" r:id="rId4"/>
    <p:sldId id="400" r:id="rId5"/>
    <p:sldId id="375" r:id="rId6"/>
    <p:sldId id="376" r:id="rId7"/>
    <p:sldId id="401" r:id="rId8"/>
    <p:sldId id="390" r:id="rId9"/>
    <p:sldId id="391" r:id="rId10"/>
    <p:sldId id="403" r:id="rId11"/>
    <p:sldId id="392" r:id="rId12"/>
    <p:sldId id="395" r:id="rId13"/>
    <p:sldId id="404" r:id="rId14"/>
    <p:sldId id="405" r:id="rId15"/>
    <p:sldId id="406" r:id="rId16"/>
    <p:sldId id="407" r:id="rId17"/>
    <p:sldId id="377" r:id="rId18"/>
    <p:sldId id="379" r:id="rId19"/>
    <p:sldId id="378" r:id="rId20"/>
    <p:sldId id="380" r:id="rId21"/>
    <p:sldId id="387" r:id="rId22"/>
    <p:sldId id="388" r:id="rId23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148C"/>
    <a:srgbClr val="365579"/>
    <a:srgbClr val="CC0000"/>
    <a:srgbClr val="1B1446"/>
    <a:srgbClr val="F77C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965" autoAdjust="0"/>
    <p:restoredTop sz="94660"/>
  </p:normalViewPr>
  <p:slideViewPr>
    <p:cSldViewPr snapToGrid="0">
      <p:cViewPr varScale="1">
        <p:scale>
          <a:sx n="160" d="100"/>
          <a:sy n="160" d="100"/>
        </p:scale>
        <p:origin x="876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BBDF17-614F-46DD-ACF4-57229D63E37D}" type="datetimeFigureOut">
              <a:rPr lang="en-US" smtClean="0"/>
              <a:t>4/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0C0743-FAF1-45D4-85C3-261F3618A2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670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3AE34E5-CAD8-444D-BA96-0F14D9BEE815}"/>
              </a:ext>
            </a:extLst>
          </p:cNvPr>
          <p:cNvSpPr/>
          <p:nvPr userDrawn="1"/>
        </p:nvSpPr>
        <p:spPr>
          <a:xfrm>
            <a:off x="205154" y="230736"/>
            <a:ext cx="11716228" cy="61700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5932892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4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47309" y="6507909"/>
            <a:ext cx="374073" cy="271993"/>
          </a:xfrm>
        </p:spPr>
        <p:txBody>
          <a:bodyPr/>
          <a:lstStyle>
            <a:lvl1pPr algn="ctr">
              <a:defRPr sz="10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05155" y="6502196"/>
            <a:ext cx="11237664" cy="283418"/>
          </a:xfr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47880" y="350091"/>
            <a:ext cx="11294701" cy="396875"/>
          </a:xfrm>
        </p:spPr>
        <p:txBody>
          <a:bodyPr>
            <a:normAutofit/>
          </a:bodyPr>
          <a:lstStyle>
            <a:lvl1pPr>
              <a:defRPr sz="2133" b="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A076FD2-FB1C-41CE-92C9-A91C4551679C}"/>
              </a:ext>
            </a:extLst>
          </p:cNvPr>
          <p:cNvCxnSpPr/>
          <p:nvPr userDrawn="1"/>
        </p:nvCxnSpPr>
        <p:spPr>
          <a:xfrm>
            <a:off x="350432" y="767539"/>
            <a:ext cx="914400" cy="0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5BA497F-2874-4494-BB0B-6124DCFB35E0}"/>
              </a:ext>
            </a:extLst>
          </p:cNvPr>
          <p:cNvCxnSpPr>
            <a:cxnSpLocks/>
          </p:cNvCxnSpPr>
          <p:nvPr userDrawn="1"/>
        </p:nvCxnSpPr>
        <p:spPr>
          <a:xfrm flipV="1">
            <a:off x="11495064" y="6502196"/>
            <a:ext cx="0" cy="283419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87805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3AE34E5-CAD8-444D-BA96-0F14D9BEE815}"/>
              </a:ext>
            </a:extLst>
          </p:cNvPr>
          <p:cNvSpPr/>
          <p:nvPr userDrawn="1"/>
        </p:nvSpPr>
        <p:spPr>
          <a:xfrm>
            <a:off x="205154" y="230736"/>
            <a:ext cx="11716228" cy="61700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8429557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4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47309" y="6507909"/>
            <a:ext cx="374073" cy="271993"/>
          </a:xfrm>
        </p:spPr>
        <p:txBody>
          <a:bodyPr/>
          <a:lstStyle>
            <a:lvl1pPr algn="ctr">
              <a:defRPr sz="10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05155" y="6502196"/>
            <a:ext cx="11237664" cy="283418"/>
          </a:xfr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5BA497F-2874-4494-BB0B-6124DCFB35E0}"/>
              </a:ext>
            </a:extLst>
          </p:cNvPr>
          <p:cNvCxnSpPr>
            <a:cxnSpLocks/>
          </p:cNvCxnSpPr>
          <p:nvPr userDrawn="1"/>
        </p:nvCxnSpPr>
        <p:spPr>
          <a:xfrm flipV="1">
            <a:off x="11495064" y="6502196"/>
            <a:ext cx="0" cy="283419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66068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3AE34E5-CAD8-444D-BA96-0F14D9BEE815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3140640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5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21E401B-90F2-4379-84F4-F72E1842A02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2514600"/>
            <a:ext cx="0" cy="1828800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DB8AE056-429A-44DF-83FB-424284095F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47309" y="6507909"/>
            <a:ext cx="374073" cy="271993"/>
          </a:xfrm>
        </p:spPr>
        <p:txBody>
          <a:bodyPr/>
          <a:lstStyle>
            <a:lvl1pPr algn="ctr">
              <a:defRPr sz="10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D520613E-A9E4-4D13-8BFE-C5302A788E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5155" y="6502196"/>
            <a:ext cx="11237664" cy="283418"/>
          </a:xfr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CAC2BA5-ABC2-4DC5-B2D8-AC4CD331BD10}"/>
              </a:ext>
            </a:extLst>
          </p:cNvPr>
          <p:cNvCxnSpPr/>
          <p:nvPr userDrawn="1"/>
        </p:nvCxnSpPr>
        <p:spPr>
          <a:xfrm>
            <a:off x="350432" y="767539"/>
            <a:ext cx="914400" cy="0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8AEE451-02FF-41FE-B763-E991790C6EEF}"/>
              </a:ext>
            </a:extLst>
          </p:cNvPr>
          <p:cNvCxnSpPr>
            <a:cxnSpLocks/>
          </p:cNvCxnSpPr>
          <p:nvPr userDrawn="1"/>
        </p:nvCxnSpPr>
        <p:spPr>
          <a:xfrm flipV="1">
            <a:off x="11495064" y="6502196"/>
            <a:ext cx="0" cy="283419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1">
            <a:extLst>
              <a:ext uri="{FF2B5EF4-FFF2-40B4-BE49-F238E27FC236}">
                <a16:creationId xmlns:a16="http://schemas.microsoft.com/office/drawing/2014/main" id="{75BF1C70-2768-4C6B-8C53-14E4EDA7A7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880" y="350091"/>
            <a:ext cx="11294701" cy="396875"/>
          </a:xfrm>
        </p:spPr>
        <p:txBody>
          <a:bodyPr>
            <a:normAutofit/>
          </a:bodyPr>
          <a:lstStyle>
            <a:lvl1pPr>
              <a:defRPr sz="2133" b="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62970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0676156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09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9" name="Pentagon 8"/>
          <p:cNvSpPr/>
          <p:nvPr userDrawn="1"/>
        </p:nvSpPr>
        <p:spPr>
          <a:xfrm>
            <a:off x="-1" y="0"/>
            <a:ext cx="9006703" cy="6858000"/>
          </a:xfrm>
          <a:prstGeom prst="homePlate">
            <a:avLst>
              <a:gd name="adj" fmla="val 9523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44B33ABC-BD4B-4CCA-86BD-7C3D30E06C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47309" y="6507909"/>
            <a:ext cx="374073" cy="271993"/>
          </a:xfrm>
        </p:spPr>
        <p:txBody>
          <a:bodyPr/>
          <a:lstStyle>
            <a:lvl1pPr algn="ctr">
              <a:defRPr sz="10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71D58BB0-6D2D-4875-ACAD-8BEBA81208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5155" y="6502196"/>
            <a:ext cx="11237664" cy="283418"/>
          </a:xfr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6B98CB-4136-47DB-A1CE-75553741C078}"/>
              </a:ext>
            </a:extLst>
          </p:cNvPr>
          <p:cNvCxnSpPr/>
          <p:nvPr userDrawn="1"/>
        </p:nvCxnSpPr>
        <p:spPr>
          <a:xfrm>
            <a:off x="350432" y="767539"/>
            <a:ext cx="914400" cy="0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4752724-06B1-4A65-A787-D2B331386BEB}"/>
              </a:ext>
            </a:extLst>
          </p:cNvPr>
          <p:cNvCxnSpPr>
            <a:cxnSpLocks/>
          </p:cNvCxnSpPr>
          <p:nvPr userDrawn="1"/>
        </p:nvCxnSpPr>
        <p:spPr>
          <a:xfrm flipV="1">
            <a:off x="11495064" y="6502196"/>
            <a:ext cx="0" cy="283419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1">
            <a:extLst>
              <a:ext uri="{FF2B5EF4-FFF2-40B4-BE49-F238E27FC236}">
                <a16:creationId xmlns:a16="http://schemas.microsoft.com/office/drawing/2014/main" id="{A8386343-0EBC-455D-B823-F5BEF0850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880" y="350091"/>
            <a:ext cx="11294701" cy="396875"/>
          </a:xfrm>
        </p:spPr>
        <p:txBody>
          <a:bodyPr>
            <a:normAutofit/>
          </a:bodyPr>
          <a:lstStyle>
            <a:lvl1pPr>
              <a:defRPr sz="2133" b="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18765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9211686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5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DE56F90-71D5-4E07-A091-4BB4379AA3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47309" y="6507909"/>
            <a:ext cx="374073" cy="271993"/>
          </a:xfrm>
        </p:spPr>
        <p:txBody>
          <a:bodyPr/>
          <a:lstStyle>
            <a:lvl1pPr algn="ctr">
              <a:defRPr sz="10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5E628BD5-AAD5-445B-92CC-4E2C66D73B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5155" y="6502196"/>
            <a:ext cx="11237664" cy="283418"/>
          </a:xfr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75A2FFE-5B7B-45DD-9A63-85C249A5E6EA}"/>
              </a:ext>
            </a:extLst>
          </p:cNvPr>
          <p:cNvCxnSpPr/>
          <p:nvPr userDrawn="1"/>
        </p:nvCxnSpPr>
        <p:spPr>
          <a:xfrm>
            <a:off x="350432" y="767539"/>
            <a:ext cx="914400" cy="0"/>
          </a:xfrm>
          <a:prstGeom prst="line">
            <a:avLst/>
          </a:prstGeom>
          <a:ln w="28575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0A2DFC4-6B34-4290-95EB-35423FCB832C}"/>
              </a:ext>
            </a:extLst>
          </p:cNvPr>
          <p:cNvCxnSpPr>
            <a:cxnSpLocks/>
          </p:cNvCxnSpPr>
          <p:nvPr userDrawn="1"/>
        </p:nvCxnSpPr>
        <p:spPr>
          <a:xfrm flipV="1">
            <a:off x="11495064" y="6502196"/>
            <a:ext cx="0" cy="283419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FD005B96-AB7E-4172-B5E0-295E982EF2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880" y="350091"/>
            <a:ext cx="11294701" cy="396875"/>
          </a:xfrm>
        </p:spPr>
        <p:txBody>
          <a:bodyPr>
            <a:normAutofit/>
          </a:bodyPr>
          <a:lstStyle>
            <a:lvl1pPr>
              <a:defRPr sz="2133" b="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49232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8771126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4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237879CD-BCEB-46FE-8A35-A53A7AC8FA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47309" y="6507909"/>
            <a:ext cx="374073" cy="271993"/>
          </a:xfrm>
        </p:spPr>
        <p:txBody>
          <a:bodyPr/>
          <a:lstStyle>
            <a:lvl1pPr algn="ctr">
              <a:defRPr sz="10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04E4A957-F8B9-4B04-A71F-559F4648B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5155" y="6502196"/>
            <a:ext cx="11237664" cy="283418"/>
          </a:xfr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4388843-137D-4F0C-A9DA-5FA6030630C0}"/>
              </a:ext>
            </a:extLst>
          </p:cNvPr>
          <p:cNvCxnSpPr/>
          <p:nvPr userDrawn="1"/>
        </p:nvCxnSpPr>
        <p:spPr>
          <a:xfrm>
            <a:off x="350432" y="767539"/>
            <a:ext cx="914400" cy="0"/>
          </a:xfrm>
          <a:prstGeom prst="line">
            <a:avLst/>
          </a:prstGeom>
          <a:ln w="28575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ADAEBC2-6B12-4920-BA45-7E7E85780828}"/>
              </a:ext>
            </a:extLst>
          </p:cNvPr>
          <p:cNvCxnSpPr>
            <a:cxnSpLocks/>
          </p:cNvCxnSpPr>
          <p:nvPr userDrawn="1"/>
        </p:nvCxnSpPr>
        <p:spPr>
          <a:xfrm flipV="1">
            <a:off x="11495064" y="6502196"/>
            <a:ext cx="0" cy="283419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A5A4D4E0-5951-47E2-867B-AFA1712C3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880" y="350091"/>
            <a:ext cx="11294701" cy="396875"/>
          </a:xfrm>
        </p:spPr>
        <p:txBody>
          <a:bodyPr>
            <a:normAutofit/>
          </a:bodyPr>
          <a:lstStyle>
            <a:lvl1pPr>
              <a:defRPr sz="2133" b="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12840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8640075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2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9" name="Pentagon 8"/>
          <p:cNvSpPr/>
          <p:nvPr userDrawn="1"/>
        </p:nvSpPr>
        <p:spPr>
          <a:xfrm>
            <a:off x="0" y="0"/>
            <a:ext cx="3971365" cy="6858000"/>
          </a:xfrm>
          <a:prstGeom prst="homePlate">
            <a:avLst>
              <a:gd name="adj" fmla="val 2137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5169" y="3124731"/>
            <a:ext cx="3329483" cy="608541"/>
          </a:xfrm>
        </p:spPr>
        <p:txBody>
          <a:bodyPr>
            <a:normAutofit/>
          </a:bodyPr>
          <a:lstStyle>
            <a:lvl1pPr>
              <a:defRPr sz="2500" b="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0"/>
          </p:nvPr>
        </p:nvSpPr>
        <p:spPr>
          <a:xfrm>
            <a:off x="108722" y="6518274"/>
            <a:ext cx="876300" cy="271993"/>
          </a:xfrm>
        </p:spPr>
        <p:txBody>
          <a:bodyPr/>
          <a:lstStyle>
            <a:lvl1pPr>
              <a:defRPr sz="800">
                <a:latin typeface="+mn-lt"/>
              </a:defRPr>
            </a:lvl1pPr>
          </a:lstStyle>
          <a:p>
            <a:fld id="{9A71657B-2E7A-4DC9-A23D-AC9485FEC8B3}" type="datetime1">
              <a:rPr lang="en-US" smtClean="0"/>
              <a:pPr/>
              <a:t>4/8/2020</a:t>
            </a:fld>
            <a:endParaRPr lang="en-US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104326" y="6519334"/>
            <a:ext cx="10343488" cy="271993"/>
          </a:xfr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67118" y="6513622"/>
            <a:ext cx="374073" cy="271993"/>
          </a:xfrm>
        </p:spPr>
        <p:txBody>
          <a:bodyPr/>
          <a:lstStyle>
            <a:lvl1pPr algn="ctr">
              <a:defRPr sz="933" b="0" i="0">
                <a:solidFill>
                  <a:schemeClr val="tx1"/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64ABDDB-EAD9-4C9F-BBC3-DA5B4B783451}"/>
              </a:ext>
            </a:extLst>
          </p:cNvPr>
          <p:cNvCxnSpPr>
            <a:cxnSpLocks/>
          </p:cNvCxnSpPr>
          <p:nvPr userDrawn="1"/>
        </p:nvCxnSpPr>
        <p:spPr>
          <a:xfrm flipV="1">
            <a:off x="11495064" y="6502196"/>
            <a:ext cx="0" cy="283419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42627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9234006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0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0"/>
          </p:nvPr>
        </p:nvSpPr>
        <p:spPr>
          <a:xfrm>
            <a:off x="108722" y="6518274"/>
            <a:ext cx="876300" cy="271993"/>
          </a:xfrm>
        </p:spPr>
        <p:txBody>
          <a:bodyPr/>
          <a:lstStyle>
            <a:lvl1pPr>
              <a:defRPr sz="800">
                <a:latin typeface="+mn-lt"/>
              </a:defRPr>
            </a:lvl1pPr>
          </a:lstStyle>
          <a:p>
            <a:fld id="{9A71657B-2E7A-4DC9-A23D-AC9485FEC8B3}" type="datetime1">
              <a:rPr lang="en-US" smtClean="0"/>
              <a:pPr/>
              <a:t>4/8/2020</a:t>
            </a:fld>
            <a:endParaRPr lang="en-US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104326" y="6519334"/>
            <a:ext cx="10343488" cy="271993"/>
          </a:xfr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80371" y="6513622"/>
            <a:ext cx="374073" cy="271993"/>
          </a:xfrm>
        </p:spPr>
        <p:txBody>
          <a:bodyPr/>
          <a:lstStyle>
            <a:lvl1pPr algn="ctr">
              <a:defRPr sz="933" b="0" i="0">
                <a:solidFill>
                  <a:schemeClr val="tx1"/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398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2796445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11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67" b="0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2909696"/>
            <a:ext cx="12192000" cy="1038608"/>
          </a:xfrm>
          <a:solidFill>
            <a:srgbClr val="00148C"/>
          </a:solidFill>
          <a:ln>
            <a:noFill/>
          </a:ln>
        </p:spPr>
        <p:txBody>
          <a:bodyPr anchor="ctr">
            <a:noAutofit/>
          </a:bodyPr>
          <a:lstStyle>
            <a:lvl1pPr marL="231775" indent="0" algn="l">
              <a:defRPr sz="3667" i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Isosceles Triangle 2"/>
          <p:cNvSpPr/>
          <p:nvPr userDrawn="1"/>
        </p:nvSpPr>
        <p:spPr>
          <a:xfrm rot="10800000">
            <a:off x="10950837" y="3938331"/>
            <a:ext cx="494271" cy="483287"/>
          </a:xfrm>
          <a:prstGeom prst="triangle">
            <a:avLst/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45134" y="6518274"/>
            <a:ext cx="374073" cy="271993"/>
          </a:xfrm>
        </p:spPr>
        <p:txBody>
          <a:bodyPr/>
          <a:lstStyle>
            <a:lvl1pPr algn="ctr">
              <a:defRPr sz="933" b="0" i="0">
                <a:solidFill>
                  <a:schemeClr val="tx1"/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16044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10971090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081" name="think-cell Slide" r:id="rId14" imgW="592" imgH="595" progId="TCLayout.ActiveDocument.1">
                  <p:embed/>
                </p:oleObj>
              </mc:Choice>
              <mc:Fallback>
                <p:oleObj name="think-cell Slide" r:id="rId1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8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FE15306F-1960-48AF-8CEE-C1253C2F6427}" type="datetime1">
              <a:rPr lang="en-US" smtClean="0"/>
              <a:pPr/>
              <a:t>4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443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6" r:id="rId2"/>
    <p:sldLayoutId id="2147483702" r:id="rId3"/>
    <p:sldLayoutId id="2147483699" r:id="rId4"/>
    <p:sldLayoutId id="2147483703" r:id="rId5"/>
    <p:sldLayoutId id="2147483705" r:id="rId6"/>
    <p:sldLayoutId id="2147483670" r:id="rId7"/>
    <p:sldLayoutId id="2147483671" r:id="rId8"/>
    <p:sldLayoutId id="2147483700" r:id="rId9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CSSEGISandData/COVID-19" TargetMode="Externa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A89E381-FD7F-4DDD-8BE2-A8293351B891}"/>
              </a:ext>
            </a:extLst>
          </p:cNvPr>
          <p:cNvSpPr txBox="1"/>
          <p:nvPr/>
        </p:nvSpPr>
        <p:spPr>
          <a:xfrm>
            <a:off x="269715" y="2859613"/>
            <a:ext cx="11531966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00148C"/>
                </a:solidFill>
              </a:rPr>
              <a:t>Corona Trend (EDA + Prediction) MVP</a:t>
            </a:r>
            <a:endParaRPr lang="en-US" sz="3600" b="1" dirty="0">
              <a:solidFill>
                <a:srgbClr val="00148C"/>
              </a:solidFill>
            </a:endParaRPr>
          </a:p>
          <a:p>
            <a:r>
              <a:rPr lang="en-US" sz="2400" i="1" dirty="0">
                <a:solidFill>
                  <a:srgbClr val="00148C"/>
                </a:solidFill>
              </a:rPr>
              <a:t>Using deep-learning methods (LSTM)</a:t>
            </a:r>
          </a:p>
        </p:txBody>
      </p:sp>
    </p:spTree>
    <p:extLst>
      <p:ext uri="{BB962C8B-B14F-4D97-AF65-F5344CB8AC3E}">
        <p14:creationId xmlns:p14="http://schemas.microsoft.com/office/powerpoint/2010/main" val="13307833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0FD3446-EF4C-48DE-8E2E-81D7013535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643" y="894606"/>
            <a:ext cx="8085110" cy="536164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e View (grain = town) – population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2975876" y="1548639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576236" y="900004"/>
            <a:ext cx="3139514" cy="535624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Middlesex and Worcester counties are the most populated.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The population in Essex and in </a:t>
            </a:r>
            <a:r>
              <a:rPr lang="en-US" sz="1400" i="1" dirty="0" err="1"/>
              <a:t>Suffox</a:t>
            </a:r>
            <a:r>
              <a:rPr lang="en-US" sz="1400" i="1" dirty="0"/>
              <a:t> counties are much smaller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CB31073-24FF-4E14-967C-121982EA104D}"/>
              </a:ext>
            </a:extLst>
          </p:cNvPr>
          <p:cNvSpPr/>
          <p:nvPr/>
        </p:nvSpPr>
        <p:spPr>
          <a:xfrm>
            <a:off x="6096000" y="2528131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3A07F59-9C20-4F66-BAEC-E45761FA8C95}"/>
              </a:ext>
            </a:extLst>
          </p:cNvPr>
          <p:cNvSpPr/>
          <p:nvPr/>
        </p:nvSpPr>
        <p:spPr>
          <a:xfrm>
            <a:off x="110490" y="3246120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3419667-8A51-4EE8-9C7F-5F2D6643CA02}"/>
              </a:ext>
            </a:extLst>
          </p:cNvPr>
          <p:cNvSpPr/>
          <p:nvPr/>
        </p:nvSpPr>
        <p:spPr>
          <a:xfrm>
            <a:off x="2792996" y="3246120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2707713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52782A7-BC7C-4B87-B19D-23BCC440FB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641" y="894606"/>
            <a:ext cx="8225695" cy="545486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e View – cumulative incidence till 04/07/2020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65000" y="2192253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737600" y="894607"/>
            <a:ext cx="2978150" cy="546026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Although Middlesex is the </a:t>
            </a:r>
            <a:r>
              <a:rPr lang="en-US" sz="1400" i="1" dirty="0" err="1"/>
              <a:t>the</a:t>
            </a:r>
            <a:r>
              <a:rPr lang="en-US" sz="1400" i="1" dirty="0"/>
              <a:t> largest county by population, Suffolk county has more cases likely due to population density </a:t>
            </a:r>
          </a:p>
        </p:txBody>
      </p:sp>
    </p:spTree>
    <p:extLst>
      <p:ext uri="{BB962C8B-B14F-4D97-AF65-F5344CB8AC3E}">
        <p14:creationId xmlns:p14="http://schemas.microsoft.com/office/powerpoint/2010/main" val="12801958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3C5471EA-4803-4544-9112-F87D67EF1F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728" y="900002"/>
            <a:ext cx="8225692" cy="54548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wn trend – incidence trend over tim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7200077" y="2664394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612094" y="900003"/>
            <a:ext cx="3103656" cy="545486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The user can drill into and add / remove towns to understand trends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7 different trends and 2 views (at the state-level or at an individual-town level) help one to understand different growth disease spread patterns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The chart on the left auto-refreshes based on selection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FB050FF-A13B-46D8-B552-8BA84C6D7C57}"/>
              </a:ext>
            </a:extLst>
          </p:cNvPr>
          <p:cNvSpPr/>
          <p:nvPr/>
        </p:nvSpPr>
        <p:spPr>
          <a:xfrm>
            <a:off x="7200077" y="3943358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1D0D8E0-B4B1-4C4E-B554-973F8CEE1064}"/>
              </a:ext>
            </a:extLst>
          </p:cNvPr>
          <p:cNvSpPr/>
          <p:nvPr/>
        </p:nvSpPr>
        <p:spPr>
          <a:xfrm>
            <a:off x="2717724" y="3550189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4059794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A03DF35-1746-4E16-8D4E-95340C1FBF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728" y="900002"/>
            <a:ext cx="8225692" cy="545486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wn trend – incidence trend over tim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6207983" y="5497241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612094" y="900003"/>
            <a:ext cx="3103656" cy="545486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Toggling to the state view, one can see the state-level information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FB050FF-A13B-46D8-B552-8BA84C6D7C57}"/>
              </a:ext>
            </a:extLst>
          </p:cNvPr>
          <p:cNvSpPr/>
          <p:nvPr/>
        </p:nvSpPr>
        <p:spPr>
          <a:xfrm>
            <a:off x="4588359" y="3627436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652775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ECAA951-52F3-4DC7-9E44-CC7D25E5DD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182" y="900004"/>
            <a:ext cx="8225693" cy="545486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wn trend – incidence increase over tim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7200077" y="2664394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612094" y="900003"/>
            <a:ext cx="3103656" cy="545486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Incidence counts seem to be a function of size of the countie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1D0D8E0-B4B1-4C4E-B554-973F8CEE1064}"/>
              </a:ext>
            </a:extLst>
          </p:cNvPr>
          <p:cNvSpPr/>
          <p:nvPr/>
        </p:nvSpPr>
        <p:spPr>
          <a:xfrm>
            <a:off x="3811418" y="2847274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6176109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620797B-AA35-4914-AE33-D8C6EC46E6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182" y="900003"/>
            <a:ext cx="8225693" cy="545486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wn trend – incidence increase over tim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7200077" y="2664394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612094" y="900003"/>
            <a:ext cx="3103656" cy="545486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Incidence counts seem to be a function of size of the counties as most day over day growth rates are almost similar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The day over day growth seem to be more or less steady. So, social distancing seems to be indeed helping and will need to continue.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1D0D8E0-B4B1-4C4E-B554-973F8CEE1064}"/>
              </a:ext>
            </a:extLst>
          </p:cNvPr>
          <p:cNvSpPr/>
          <p:nvPr/>
        </p:nvSpPr>
        <p:spPr>
          <a:xfrm>
            <a:off x="3811418" y="2847274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5780566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11F73E5-86B5-4451-A4D1-A76B8EBF84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182" y="900003"/>
            <a:ext cx="8225693" cy="545486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in a data-tabl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7200077" y="2664394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612094" y="900003"/>
            <a:ext cx="3103656" cy="545486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A data table construct helps navigate the data a bit more easily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1D0D8E0-B4B1-4C4E-B554-973F8CEE1064}"/>
              </a:ext>
            </a:extLst>
          </p:cNvPr>
          <p:cNvSpPr/>
          <p:nvPr/>
        </p:nvSpPr>
        <p:spPr>
          <a:xfrm>
            <a:off x="3811418" y="2847274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8075372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EA0B2F4-F11A-4A52-9321-DFD177D743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uild MVP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4A9B341-18AC-4E9A-855E-FDC701DC7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236546" name="Picture 2">
            <a:extLst>
              <a:ext uri="{FF2B5EF4-FFF2-40B4-BE49-F238E27FC236}">
                <a16:creationId xmlns:a16="http://schemas.microsoft.com/office/drawing/2014/main" id="{678F862F-F985-470F-8D43-72E144C3BA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454" y="3125320"/>
            <a:ext cx="607359" cy="607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57727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2B2E1C-9F01-4C2C-9347-D1B8CB498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16ED63-D811-46E4-A028-94FDD24C82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gorithm development steps</a:t>
            </a: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5BD099F5-139E-4DAD-A204-9665FF063B64}"/>
              </a:ext>
            </a:extLst>
          </p:cNvPr>
          <p:cNvSpPr/>
          <p:nvPr/>
        </p:nvSpPr>
        <p:spPr>
          <a:xfrm rot="10800000">
            <a:off x="11277145" y="0"/>
            <a:ext cx="914400" cy="914400"/>
          </a:xfrm>
          <a:prstGeom prst="rtTriangle">
            <a:avLst/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AE0571AF-13FB-48F9-AEAC-D58AF26E67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1695" y="104072"/>
            <a:ext cx="319373" cy="319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E146FA8-6925-4C3F-B5A8-6A54BA285620}"/>
              </a:ext>
            </a:extLst>
          </p:cNvPr>
          <p:cNvSpPr txBox="1"/>
          <p:nvPr/>
        </p:nvSpPr>
        <p:spPr>
          <a:xfrm>
            <a:off x="283183" y="820058"/>
            <a:ext cx="114035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/>
              <a:t>Generating forecasts @ scale involves getting through 18 steps including … 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DDD95359-8D7D-42F5-AD99-A383655D8801}"/>
              </a:ext>
            </a:extLst>
          </p:cNvPr>
          <p:cNvSpPr/>
          <p:nvPr/>
        </p:nvSpPr>
        <p:spPr>
          <a:xfrm>
            <a:off x="341316" y="1150644"/>
            <a:ext cx="2347186" cy="457200"/>
          </a:xfrm>
          <a:prstGeom prst="homePlate">
            <a:avLst>
              <a:gd name="adj" fmla="val 27215"/>
            </a:avLst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Prepare</a:t>
            </a:r>
          </a:p>
          <a:p>
            <a:pPr algn="ctr"/>
            <a:r>
              <a:rPr lang="en-US" sz="1100" dirty="0"/>
              <a:t>data</a:t>
            </a: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2F605A28-F37E-4DB8-A6D9-0B41BFE0A8E9}"/>
              </a:ext>
            </a:extLst>
          </p:cNvPr>
          <p:cNvSpPr/>
          <p:nvPr/>
        </p:nvSpPr>
        <p:spPr>
          <a:xfrm>
            <a:off x="2635624" y="1150643"/>
            <a:ext cx="7358603" cy="457200"/>
          </a:xfrm>
          <a:prstGeom prst="chevron">
            <a:avLst>
              <a:gd name="adj" fmla="val 25949"/>
            </a:avLst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Build MVP</a:t>
            </a:r>
          </a:p>
          <a:p>
            <a:pPr algn="ctr"/>
            <a:r>
              <a:rPr lang="en-US" sz="1050" dirty="0">
                <a:solidFill>
                  <a:schemeClr val="bg1"/>
                </a:solidFill>
              </a:rPr>
              <a:t>using 1 algorithms</a:t>
            </a: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6DE4CBD0-8756-4C6C-8792-2C0560F9DF45}"/>
              </a:ext>
            </a:extLst>
          </p:cNvPr>
          <p:cNvSpPr/>
          <p:nvPr/>
        </p:nvSpPr>
        <p:spPr>
          <a:xfrm>
            <a:off x="9994227" y="1150643"/>
            <a:ext cx="1767468" cy="457200"/>
          </a:xfrm>
          <a:prstGeom prst="chevron">
            <a:avLst>
              <a:gd name="adj" fmla="val 25949"/>
            </a:avLst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Sav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en-US" sz="1050" dirty="0">
                <a:solidFill>
                  <a:schemeClr val="bg1"/>
                </a:solidFill>
              </a:rPr>
              <a:t>Results</a:t>
            </a:r>
          </a:p>
        </p:txBody>
      </p:sp>
      <p:sp>
        <p:nvSpPr>
          <p:cNvPr id="3" name="Flowchart: Terminator 2">
            <a:extLst>
              <a:ext uri="{FF2B5EF4-FFF2-40B4-BE49-F238E27FC236}">
                <a16:creationId xmlns:a16="http://schemas.microsoft.com/office/drawing/2014/main" id="{23B0FD60-4A32-4FC6-8425-4A76CB6D8AE5}"/>
              </a:ext>
            </a:extLst>
          </p:cNvPr>
          <p:cNvSpPr/>
          <p:nvPr/>
        </p:nvSpPr>
        <p:spPr>
          <a:xfrm>
            <a:off x="872893" y="1751769"/>
            <a:ext cx="1087718" cy="457200"/>
          </a:xfrm>
          <a:prstGeom prst="flowChartTerminator">
            <a:avLst/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" name="Flowchart: Predefined Process 4">
            <a:extLst>
              <a:ext uri="{FF2B5EF4-FFF2-40B4-BE49-F238E27FC236}">
                <a16:creationId xmlns:a16="http://schemas.microsoft.com/office/drawing/2014/main" id="{44420691-683D-4695-A6FC-4A31479AA983}"/>
              </a:ext>
            </a:extLst>
          </p:cNvPr>
          <p:cNvSpPr/>
          <p:nvPr/>
        </p:nvSpPr>
        <p:spPr>
          <a:xfrm>
            <a:off x="341316" y="2492438"/>
            <a:ext cx="2150872" cy="651435"/>
          </a:xfrm>
          <a:prstGeom prst="flowChartPredefinedProcess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Git Clone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82C492F-0898-4E1A-9E67-C38AE88CB3A2}"/>
              </a:ext>
            </a:extLst>
          </p:cNvPr>
          <p:cNvCxnSpPr>
            <a:cxnSpLocks/>
            <a:stCxn id="3" idx="2"/>
            <a:endCxn id="5" idx="0"/>
          </p:cNvCxnSpPr>
          <p:nvPr/>
        </p:nvCxnSpPr>
        <p:spPr>
          <a:xfrm>
            <a:off x="1416752" y="2208969"/>
            <a:ext cx="0" cy="283469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lowchart: Predefined Process 18">
            <a:extLst>
              <a:ext uri="{FF2B5EF4-FFF2-40B4-BE49-F238E27FC236}">
                <a16:creationId xmlns:a16="http://schemas.microsoft.com/office/drawing/2014/main" id="{C5687D22-3F5B-45FE-A1BA-478D4BA180ED}"/>
              </a:ext>
            </a:extLst>
          </p:cNvPr>
          <p:cNvSpPr/>
          <p:nvPr/>
        </p:nvSpPr>
        <p:spPr>
          <a:xfrm>
            <a:off x="341316" y="3474150"/>
            <a:ext cx="2150872" cy="651435"/>
          </a:xfrm>
          <a:prstGeom prst="flowChartPredefinedProcess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Load </a:t>
            </a:r>
          </a:p>
          <a:p>
            <a:pPr algn="ctr"/>
            <a:r>
              <a:rPr lang="en-US" sz="1200" dirty="0">
                <a:solidFill>
                  <a:srgbClr val="00148C"/>
                </a:solidFill>
              </a:rPr>
              <a:t>Data into DB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0EC52EF-28FA-4CA7-B299-75F4CED2D67D}"/>
              </a:ext>
            </a:extLst>
          </p:cNvPr>
          <p:cNvCxnSpPr>
            <a:cxnSpLocks/>
            <a:stCxn id="5" idx="2"/>
            <a:endCxn id="19" idx="0"/>
          </p:cNvCxnSpPr>
          <p:nvPr/>
        </p:nvCxnSpPr>
        <p:spPr>
          <a:xfrm>
            <a:off x="1416752" y="3143873"/>
            <a:ext cx="0" cy="33027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lowchart: Predefined Process 34">
            <a:extLst>
              <a:ext uri="{FF2B5EF4-FFF2-40B4-BE49-F238E27FC236}">
                <a16:creationId xmlns:a16="http://schemas.microsoft.com/office/drawing/2014/main" id="{EDA35CF8-4EE6-4DEA-8106-7DF2CF1EE589}"/>
              </a:ext>
            </a:extLst>
          </p:cNvPr>
          <p:cNvSpPr/>
          <p:nvPr/>
        </p:nvSpPr>
        <p:spPr>
          <a:xfrm>
            <a:off x="341316" y="4455862"/>
            <a:ext cx="2150872" cy="651435"/>
          </a:xfrm>
          <a:prstGeom prst="flowChartPredefinedProcess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Merge datasets &amp; prepare Modeling Data Set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4E16D49F-3F87-4367-A071-BE9E8D98381A}"/>
              </a:ext>
            </a:extLst>
          </p:cNvPr>
          <p:cNvCxnSpPr>
            <a:cxnSpLocks/>
            <a:stCxn id="19" idx="2"/>
            <a:endCxn id="35" idx="0"/>
          </p:cNvCxnSpPr>
          <p:nvPr/>
        </p:nvCxnSpPr>
        <p:spPr>
          <a:xfrm>
            <a:off x="1416752" y="4125585"/>
            <a:ext cx="0" cy="33027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lowchart: Predefined Process 39">
            <a:extLst>
              <a:ext uri="{FF2B5EF4-FFF2-40B4-BE49-F238E27FC236}">
                <a16:creationId xmlns:a16="http://schemas.microsoft.com/office/drawing/2014/main" id="{0F3F1D1F-5436-469D-B6E3-647DF7587C47}"/>
              </a:ext>
            </a:extLst>
          </p:cNvPr>
          <p:cNvSpPr/>
          <p:nvPr/>
        </p:nvSpPr>
        <p:spPr>
          <a:xfrm>
            <a:off x="341316" y="5437574"/>
            <a:ext cx="2150872" cy="651435"/>
          </a:xfrm>
          <a:prstGeom prst="flowChartPredefinedProcess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Visualizations &amp; Explore Data in Dash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BB8D4A9-0EB6-4FB8-849C-BDD950CDD30B}"/>
              </a:ext>
            </a:extLst>
          </p:cNvPr>
          <p:cNvCxnSpPr>
            <a:cxnSpLocks/>
            <a:stCxn id="35" idx="2"/>
            <a:endCxn id="40" idx="0"/>
          </p:cNvCxnSpPr>
          <p:nvPr/>
        </p:nvCxnSpPr>
        <p:spPr>
          <a:xfrm>
            <a:off x="1416752" y="5107297"/>
            <a:ext cx="0" cy="33027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Flowchart: Predefined Process 49">
            <a:extLst>
              <a:ext uri="{FF2B5EF4-FFF2-40B4-BE49-F238E27FC236}">
                <a16:creationId xmlns:a16="http://schemas.microsoft.com/office/drawing/2014/main" id="{D40D0D93-BD09-4FE4-A68F-FF33934C66CE}"/>
              </a:ext>
            </a:extLst>
          </p:cNvPr>
          <p:cNvSpPr/>
          <p:nvPr/>
        </p:nvSpPr>
        <p:spPr>
          <a:xfrm>
            <a:off x="2743856" y="2491156"/>
            <a:ext cx="2150872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</a:t>
            </a:r>
          </a:p>
          <a:p>
            <a:pPr algn="ctr"/>
            <a:r>
              <a:rPr lang="en-US" sz="1200" dirty="0">
                <a:solidFill>
                  <a:srgbClr val="00148C"/>
                </a:solidFill>
              </a:rPr>
              <a:t>Configuration File</a:t>
            </a:r>
          </a:p>
        </p:txBody>
      </p: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35EC9305-6FBD-4AEC-A193-67971D3B6A62}"/>
              </a:ext>
            </a:extLst>
          </p:cNvPr>
          <p:cNvCxnSpPr>
            <a:cxnSpLocks/>
            <a:stCxn id="40" idx="2"/>
            <a:endCxn id="50" idx="0"/>
          </p:cNvCxnSpPr>
          <p:nvPr/>
        </p:nvCxnSpPr>
        <p:spPr>
          <a:xfrm rot="5400000" flipH="1" flipV="1">
            <a:off x="819095" y="3088813"/>
            <a:ext cx="3597853" cy="2402540"/>
          </a:xfrm>
          <a:prstGeom prst="bentConnector5">
            <a:avLst>
              <a:gd name="adj1" fmla="val -6354"/>
              <a:gd name="adj2" fmla="val 50000"/>
              <a:gd name="adj3" fmla="val 106354"/>
            </a:avLst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Flowchart: Predefined Process 54">
            <a:extLst>
              <a:ext uri="{FF2B5EF4-FFF2-40B4-BE49-F238E27FC236}">
                <a16:creationId xmlns:a16="http://schemas.microsoft.com/office/drawing/2014/main" id="{A285C7C1-9D8E-4A2D-9CF2-2B7059CAC989}"/>
              </a:ext>
            </a:extLst>
          </p:cNvPr>
          <p:cNvSpPr/>
          <p:nvPr/>
        </p:nvSpPr>
        <p:spPr>
          <a:xfrm>
            <a:off x="2738699" y="3474150"/>
            <a:ext cx="2150872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Utility Libraries</a:t>
            </a:r>
          </a:p>
          <a:p>
            <a:pPr algn="ctr"/>
            <a:r>
              <a:rPr lang="en-US" sz="1200" dirty="0">
                <a:solidFill>
                  <a:srgbClr val="00148C"/>
                </a:solidFill>
              </a:rPr>
              <a:t>(IO, Data)</a:t>
            </a:r>
          </a:p>
        </p:txBody>
      </p:sp>
      <p:sp>
        <p:nvSpPr>
          <p:cNvPr id="56" name="Flowchart: Predefined Process 55">
            <a:extLst>
              <a:ext uri="{FF2B5EF4-FFF2-40B4-BE49-F238E27FC236}">
                <a16:creationId xmlns:a16="http://schemas.microsoft.com/office/drawing/2014/main" id="{B3551E09-9CF6-45E9-A752-7D08E21F0CF8}"/>
              </a:ext>
            </a:extLst>
          </p:cNvPr>
          <p:cNvSpPr/>
          <p:nvPr/>
        </p:nvSpPr>
        <p:spPr>
          <a:xfrm>
            <a:off x="2738699" y="4455862"/>
            <a:ext cx="2150872" cy="651435"/>
          </a:xfrm>
          <a:prstGeom prst="flowChartPredefinedProcess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Parametrize forecast generation</a:t>
            </a:r>
          </a:p>
        </p:txBody>
      </p:sp>
      <p:sp>
        <p:nvSpPr>
          <p:cNvPr id="57" name="Flowchart: Predefined Process 56">
            <a:extLst>
              <a:ext uri="{FF2B5EF4-FFF2-40B4-BE49-F238E27FC236}">
                <a16:creationId xmlns:a16="http://schemas.microsoft.com/office/drawing/2014/main" id="{2BFCF618-B875-4141-A9F7-E5F7632B9DEE}"/>
              </a:ext>
            </a:extLst>
          </p:cNvPr>
          <p:cNvSpPr/>
          <p:nvPr/>
        </p:nvSpPr>
        <p:spPr>
          <a:xfrm>
            <a:off x="2745167" y="5437574"/>
            <a:ext cx="2150872" cy="651435"/>
          </a:xfrm>
          <a:prstGeom prst="flowChartPredefinedProcess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wrapper code</a:t>
            </a:r>
          </a:p>
        </p:txBody>
      </p:sp>
      <p:sp>
        <p:nvSpPr>
          <p:cNvPr id="58" name="Flowchart: Predefined Process 57">
            <a:extLst>
              <a:ext uri="{FF2B5EF4-FFF2-40B4-BE49-F238E27FC236}">
                <a16:creationId xmlns:a16="http://schemas.microsoft.com/office/drawing/2014/main" id="{4C318185-B17D-4679-A95A-4D372B910A0C}"/>
              </a:ext>
            </a:extLst>
          </p:cNvPr>
          <p:cNvSpPr/>
          <p:nvPr/>
        </p:nvSpPr>
        <p:spPr>
          <a:xfrm>
            <a:off x="5146396" y="2491156"/>
            <a:ext cx="2150872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Prophet Forecast Module</a:t>
            </a:r>
          </a:p>
        </p:txBody>
      </p:sp>
      <p:sp>
        <p:nvSpPr>
          <p:cNvPr id="59" name="Flowchart: Predefined Process 58">
            <a:extLst>
              <a:ext uri="{FF2B5EF4-FFF2-40B4-BE49-F238E27FC236}">
                <a16:creationId xmlns:a16="http://schemas.microsoft.com/office/drawing/2014/main" id="{1B50ED9C-01BC-465C-BBA1-1CC9724DA155}"/>
              </a:ext>
            </a:extLst>
          </p:cNvPr>
          <p:cNvSpPr/>
          <p:nvPr/>
        </p:nvSpPr>
        <p:spPr>
          <a:xfrm>
            <a:off x="5146396" y="3478708"/>
            <a:ext cx="2150872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Holt-Winter Forecast Module</a:t>
            </a:r>
          </a:p>
        </p:txBody>
      </p:sp>
      <p:sp>
        <p:nvSpPr>
          <p:cNvPr id="60" name="Flowchart: Predefined Process 59">
            <a:extLst>
              <a:ext uri="{FF2B5EF4-FFF2-40B4-BE49-F238E27FC236}">
                <a16:creationId xmlns:a16="http://schemas.microsoft.com/office/drawing/2014/main" id="{FD0883AB-0C3A-41E0-A140-1FB154918187}"/>
              </a:ext>
            </a:extLst>
          </p:cNvPr>
          <p:cNvSpPr/>
          <p:nvPr/>
        </p:nvSpPr>
        <p:spPr>
          <a:xfrm>
            <a:off x="5146396" y="4466260"/>
            <a:ext cx="2150872" cy="651435"/>
          </a:xfrm>
          <a:prstGeom prst="flowChartPredefinedProcess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LSTM</a:t>
            </a:r>
          </a:p>
        </p:txBody>
      </p:sp>
      <p:sp>
        <p:nvSpPr>
          <p:cNvPr id="61" name="Flowchart: Predefined Process 60">
            <a:extLst>
              <a:ext uri="{FF2B5EF4-FFF2-40B4-BE49-F238E27FC236}">
                <a16:creationId xmlns:a16="http://schemas.microsoft.com/office/drawing/2014/main" id="{85CA374B-7C8B-4BA9-B6C3-8C005F86C83A}"/>
              </a:ext>
            </a:extLst>
          </p:cNvPr>
          <p:cNvSpPr/>
          <p:nvPr/>
        </p:nvSpPr>
        <p:spPr>
          <a:xfrm>
            <a:off x="5141238" y="5437573"/>
            <a:ext cx="2150872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Canonical Model to Consume Results</a:t>
            </a:r>
          </a:p>
        </p:txBody>
      </p:sp>
      <p:sp>
        <p:nvSpPr>
          <p:cNvPr id="62" name="Flowchart: Predefined Process 61">
            <a:extLst>
              <a:ext uri="{FF2B5EF4-FFF2-40B4-BE49-F238E27FC236}">
                <a16:creationId xmlns:a16="http://schemas.microsoft.com/office/drawing/2014/main" id="{62E1A8E4-DAFF-417F-BE0C-549B7CE3C795}"/>
              </a:ext>
            </a:extLst>
          </p:cNvPr>
          <p:cNvSpPr/>
          <p:nvPr/>
        </p:nvSpPr>
        <p:spPr>
          <a:xfrm>
            <a:off x="7548936" y="2491155"/>
            <a:ext cx="2150872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Outlier handling Module</a:t>
            </a:r>
          </a:p>
        </p:txBody>
      </p:sp>
      <p:sp>
        <p:nvSpPr>
          <p:cNvPr id="63" name="Flowchart: Predefined Process 62">
            <a:extLst>
              <a:ext uri="{FF2B5EF4-FFF2-40B4-BE49-F238E27FC236}">
                <a16:creationId xmlns:a16="http://schemas.microsoft.com/office/drawing/2014/main" id="{57CFBCB5-DFC5-4733-8C4A-2E614DF31D84}"/>
              </a:ext>
            </a:extLst>
          </p:cNvPr>
          <p:cNvSpPr/>
          <p:nvPr/>
        </p:nvSpPr>
        <p:spPr>
          <a:xfrm>
            <a:off x="7554093" y="3474149"/>
            <a:ext cx="2150872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Result Visualization Module</a:t>
            </a:r>
          </a:p>
        </p:txBody>
      </p:sp>
      <p:sp>
        <p:nvSpPr>
          <p:cNvPr id="64" name="Flowchart: Predefined Process 63">
            <a:extLst>
              <a:ext uri="{FF2B5EF4-FFF2-40B4-BE49-F238E27FC236}">
                <a16:creationId xmlns:a16="http://schemas.microsoft.com/office/drawing/2014/main" id="{2667B897-64AE-4799-84F9-29B9B7493A96}"/>
              </a:ext>
            </a:extLst>
          </p:cNvPr>
          <p:cNvSpPr/>
          <p:nvPr/>
        </p:nvSpPr>
        <p:spPr>
          <a:xfrm>
            <a:off x="7551514" y="4455861"/>
            <a:ext cx="2150872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Result Ensemble Module</a:t>
            </a:r>
          </a:p>
        </p:txBody>
      </p:sp>
      <p:sp>
        <p:nvSpPr>
          <p:cNvPr id="65" name="Flowchart: Predefined Process 64">
            <a:extLst>
              <a:ext uri="{FF2B5EF4-FFF2-40B4-BE49-F238E27FC236}">
                <a16:creationId xmlns:a16="http://schemas.microsoft.com/office/drawing/2014/main" id="{9E27B37F-7600-4337-AA98-0F6ED61B42DD}"/>
              </a:ext>
            </a:extLst>
          </p:cNvPr>
          <p:cNvSpPr/>
          <p:nvPr/>
        </p:nvSpPr>
        <p:spPr>
          <a:xfrm>
            <a:off x="9951478" y="2491154"/>
            <a:ext cx="1735300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Saving of Results to DB</a:t>
            </a:r>
          </a:p>
        </p:txBody>
      </p:sp>
      <p:sp>
        <p:nvSpPr>
          <p:cNvPr id="66" name="Flowchart: Predefined Process 65">
            <a:extLst>
              <a:ext uri="{FF2B5EF4-FFF2-40B4-BE49-F238E27FC236}">
                <a16:creationId xmlns:a16="http://schemas.microsoft.com/office/drawing/2014/main" id="{52E8D151-43F0-4936-B4A4-74C1B9E54D59}"/>
              </a:ext>
            </a:extLst>
          </p:cNvPr>
          <p:cNvSpPr/>
          <p:nvPr/>
        </p:nvSpPr>
        <p:spPr>
          <a:xfrm>
            <a:off x="9951478" y="3474148"/>
            <a:ext cx="1735300" cy="651435"/>
          </a:xfrm>
          <a:prstGeom prst="flowChartPredefinedProcess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Saving of Results to Excel</a:t>
            </a: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EF05F4A2-D77A-4586-BB1B-71B7CCEC8778}"/>
              </a:ext>
            </a:extLst>
          </p:cNvPr>
          <p:cNvCxnSpPr>
            <a:cxnSpLocks/>
            <a:stCxn id="50" idx="2"/>
            <a:endCxn id="55" idx="0"/>
          </p:cNvCxnSpPr>
          <p:nvPr/>
        </p:nvCxnSpPr>
        <p:spPr>
          <a:xfrm flipH="1">
            <a:off x="3814135" y="3142591"/>
            <a:ext cx="5157" cy="331559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B40EB781-AB9D-43CA-A4CC-7FA8E6F095FD}"/>
              </a:ext>
            </a:extLst>
          </p:cNvPr>
          <p:cNvCxnSpPr>
            <a:cxnSpLocks/>
            <a:stCxn id="55" idx="2"/>
            <a:endCxn id="56" idx="0"/>
          </p:cNvCxnSpPr>
          <p:nvPr/>
        </p:nvCxnSpPr>
        <p:spPr>
          <a:xfrm>
            <a:off x="3814135" y="4125585"/>
            <a:ext cx="0" cy="33027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48107CED-3C96-4FD8-8992-6522F5A0A6C4}"/>
              </a:ext>
            </a:extLst>
          </p:cNvPr>
          <p:cNvCxnSpPr>
            <a:cxnSpLocks/>
            <a:stCxn id="56" idx="2"/>
            <a:endCxn id="57" idx="0"/>
          </p:cNvCxnSpPr>
          <p:nvPr/>
        </p:nvCxnSpPr>
        <p:spPr>
          <a:xfrm>
            <a:off x="3814135" y="5107297"/>
            <a:ext cx="6468" cy="33027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4CA3D816-28B1-4B23-BA07-8F98498820F4}"/>
              </a:ext>
            </a:extLst>
          </p:cNvPr>
          <p:cNvCxnSpPr>
            <a:cxnSpLocks/>
            <a:stCxn id="58" idx="2"/>
            <a:endCxn id="59" idx="0"/>
          </p:cNvCxnSpPr>
          <p:nvPr/>
        </p:nvCxnSpPr>
        <p:spPr>
          <a:xfrm>
            <a:off x="6221832" y="3142591"/>
            <a:ext cx="0" cy="33611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0EDB8228-E971-4B69-9776-1CDDF3F8CCDD}"/>
              </a:ext>
            </a:extLst>
          </p:cNvPr>
          <p:cNvCxnSpPr>
            <a:cxnSpLocks/>
            <a:stCxn id="59" idx="2"/>
            <a:endCxn id="60" idx="0"/>
          </p:cNvCxnSpPr>
          <p:nvPr/>
        </p:nvCxnSpPr>
        <p:spPr>
          <a:xfrm>
            <a:off x="6221832" y="4130143"/>
            <a:ext cx="0" cy="33611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A2FE2537-4F59-499A-B5A8-27F5C2ACB968}"/>
              </a:ext>
            </a:extLst>
          </p:cNvPr>
          <p:cNvCxnSpPr>
            <a:cxnSpLocks/>
            <a:stCxn id="60" idx="2"/>
            <a:endCxn id="61" idx="0"/>
          </p:cNvCxnSpPr>
          <p:nvPr/>
        </p:nvCxnSpPr>
        <p:spPr>
          <a:xfrm flipH="1">
            <a:off x="6216674" y="5117695"/>
            <a:ext cx="5158" cy="319878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or: Elbow 84">
            <a:extLst>
              <a:ext uri="{FF2B5EF4-FFF2-40B4-BE49-F238E27FC236}">
                <a16:creationId xmlns:a16="http://schemas.microsoft.com/office/drawing/2014/main" id="{08B4E4C6-A0CB-4744-9062-F261BB624325}"/>
              </a:ext>
            </a:extLst>
          </p:cNvPr>
          <p:cNvCxnSpPr>
            <a:cxnSpLocks/>
            <a:stCxn id="57" idx="2"/>
            <a:endCxn id="58" idx="0"/>
          </p:cNvCxnSpPr>
          <p:nvPr/>
        </p:nvCxnSpPr>
        <p:spPr>
          <a:xfrm rot="5400000" flipH="1" flipV="1">
            <a:off x="3222290" y="3089468"/>
            <a:ext cx="3597853" cy="2401229"/>
          </a:xfrm>
          <a:prstGeom prst="bentConnector5">
            <a:avLst>
              <a:gd name="adj1" fmla="val -6354"/>
              <a:gd name="adj2" fmla="val 50000"/>
              <a:gd name="adj3" fmla="val 106354"/>
            </a:avLst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2CD743CF-CD64-4D57-A7A7-AC9EBCE5B6DB}"/>
              </a:ext>
            </a:extLst>
          </p:cNvPr>
          <p:cNvCxnSpPr>
            <a:cxnSpLocks/>
            <a:stCxn id="61" idx="2"/>
            <a:endCxn id="62" idx="0"/>
          </p:cNvCxnSpPr>
          <p:nvPr/>
        </p:nvCxnSpPr>
        <p:spPr>
          <a:xfrm rot="5400000" flipH="1" flipV="1">
            <a:off x="5621596" y="3086233"/>
            <a:ext cx="3597853" cy="2407698"/>
          </a:xfrm>
          <a:prstGeom prst="bentConnector5">
            <a:avLst>
              <a:gd name="adj1" fmla="val -6354"/>
              <a:gd name="adj2" fmla="val 50000"/>
              <a:gd name="adj3" fmla="val 106354"/>
            </a:avLst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4C1DDBE1-8B1F-4B54-9CDB-05C2D85B7CC4}"/>
              </a:ext>
            </a:extLst>
          </p:cNvPr>
          <p:cNvCxnSpPr>
            <a:cxnSpLocks/>
            <a:stCxn id="62" idx="2"/>
            <a:endCxn id="63" idx="0"/>
          </p:cNvCxnSpPr>
          <p:nvPr/>
        </p:nvCxnSpPr>
        <p:spPr>
          <a:xfrm>
            <a:off x="8624372" y="3142590"/>
            <a:ext cx="5157" cy="331559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FFF71FF7-A0D5-4EF6-9E66-C2FD0DEDA40A}"/>
              </a:ext>
            </a:extLst>
          </p:cNvPr>
          <p:cNvCxnSpPr>
            <a:cxnSpLocks/>
            <a:stCxn id="63" idx="2"/>
            <a:endCxn id="64" idx="0"/>
          </p:cNvCxnSpPr>
          <p:nvPr/>
        </p:nvCxnSpPr>
        <p:spPr>
          <a:xfrm flipH="1">
            <a:off x="8626950" y="4125584"/>
            <a:ext cx="2579" cy="33027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058E44A1-4199-42A9-911A-ECA10714CD45}"/>
              </a:ext>
            </a:extLst>
          </p:cNvPr>
          <p:cNvCxnSpPr>
            <a:cxnSpLocks/>
            <a:stCxn id="127" idx="2"/>
            <a:endCxn id="65" idx="0"/>
          </p:cNvCxnSpPr>
          <p:nvPr/>
        </p:nvCxnSpPr>
        <p:spPr>
          <a:xfrm rot="5400000" flipH="1" flipV="1">
            <a:off x="7923467" y="3193347"/>
            <a:ext cx="3597853" cy="2193467"/>
          </a:xfrm>
          <a:prstGeom prst="bentConnector5">
            <a:avLst>
              <a:gd name="adj1" fmla="val -6354"/>
              <a:gd name="adj2" fmla="val 54736"/>
              <a:gd name="adj3" fmla="val 106354"/>
            </a:avLst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2D9CB994-ACAC-49FA-8850-2D2E24029B00}"/>
              </a:ext>
            </a:extLst>
          </p:cNvPr>
          <p:cNvCxnSpPr>
            <a:cxnSpLocks/>
            <a:stCxn id="65" idx="2"/>
            <a:endCxn id="66" idx="0"/>
          </p:cNvCxnSpPr>
          <p:nvPr/>
        </p:nvCxnSpPr>
        <p:spPr>
          <a:xfrm>
            <a:off x="10819128" y="3142589"/>
            <a:ext cx="0" cy="331559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Flowchart: Terminator 121">
            <a:extLst>
              <a:ext uri="{FF2B5EF4-FFF2-40B4-BE49-F238E27FC236}">
                <a16:creationId xmlns:a16="http://schemas.microsoft.com/office/drawing/2014/main" id="{34A1503E-3A9B-497B-A556-415F896CD4CC}"/>
              </a:ext>
            </a:extLst>
          </p:cNvPr>
          <p:cNvSpPr/>
          <p:nvPr/>
        </p:nvSpPr>
        <p:spPr>
          <a:xfrm>
            <a:off x="10275270" y="4551694"/>
            <a:ext cx="1087718" cy="457200"/>
          </a:xfrm>
          <a:prstGeom prst="flowChartTerminator">
            <a:avLst/>
          </a:prstGeom>
          <a:solidFill>
            <a:srgbClr val="C0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End</a:t>
            </a:r>
          </a:p>
        </p:txBody>
      </p:sp>
      <p:cxnSp>
        <p:nvCxnSpPr>
          <p:cNvPr id="123" name="Straight Arrow Connector 122">
            <a:extLst>
              <a:ext uri="{FF2B5EF4-FFF2-40B4-BE49-F238E27FC236}">
                <a16:creationId xmlns:a16="http://schemas.microsoft.com/office/drawing/2014/main" id="{EB741DD9-6C50-4534-999A-B22B6E5E7195}"/>
              </a:ext>
            </a:extLst>
          </p:cNvPr>
          <p:cNvCxnSpPr>
            <a:cxnSpLocks/>
            <a:stCxn id="66" idx="2"/>
            <a:endCxn id="122" idx="0"/>
          </p:cNvCxnSpPr>
          <p:nvPr/>
        </p:nvCxnSpPr>
        <p:spPr>
          <a:xfrm>
            <a:off x="10819128" y="4125583"/>
            <a:ext cx="1" cy="426111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Flowchart: Predefined Process 126">
            <a:extLst>
              <a:ext uri="{FF2B5EF4-FFF2-40B4-BE49-F238E27FC236}">
                <a16:creationId xmlns:a16="http://schemas.microsoft.com/office/drawing/2014/main" id="{9F241F9D-28CF-4E27-89D2-2FC757B84F78}"/>
              </a:ext>
            </a:extLst>
          </p:cNvPr>
          <p:cNvSpPr/>
          <p:nvPr/>
        </p:nvSpPr>
        <p:spPr>
          <a:xfrm>
            <a:off x="7550225" y="5437572"/>
            <a:ext cx="2150872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Metrics Reporting Module</a:t>
            </a:r>
          </a:p>
        </p:txBody>
      </p: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35EBE62D-CC89-40BE-B322-3B405127F964}"/>
              </a:ext>
            </a:extLst>
          </p:cNvPr>
          <p:cNvCxnSpPr>
            <a:cxnSpLocks/>
            <a:stCxn id="64" idx="2"/>
            <a:endCxn id="127" idx="0"/>
          </p:cNvCxnSpPr>
          <p:nvPr/>
        </p:nvCxnSpPr>
        <p:spPr>
          <a:xfrm flipH="1">
            <a:off x="8625661" y="5107296"/>
            <a:ext cx="1289" cy="330276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EC3B5DAA-8141-4A3D-A06F-91356EBD676E}"/>
              </a:ext>
            </a:extLst>
          </p:cNvPr>
          <p:cNvSpPr/>
          <p:nvPr/>
        </p:nvSpPr>
        <p:spPr>
          <a:xfrm>
            <a:off x="209779" y="6488858"/>
            <a:ext cx="374073" cy="27199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D37B6EC-B294-4662-950F-45252E1778A1}"/>
              </a:ext>
            </a:extLst>
          </p:cNvPr>
          <p:cNvSpPr/>
          <p:nvPr/>
        </p:nvSpPr>
        <p:spPr>
          <a:xfrm>
            <a:off x="2118115" y="6488857"/>
            <a:ext cx="374073" cy="27199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913EE3F-364D-4239-B6CC-DAC7EEE42278}"/>
              </a:ext>
            </a:extLst>
          </p:cNvPr>
          <p:cNvSpPr txBox="1"/>
          <p:nvPr/>
        </p:nvSpPr>
        <p:spPr>
          <a:xfrm>
            <a:off x="583852" y="6440187"/>
            <a:ext cx="11512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print #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3BFF3DD-08A9-44B8-B5B4-5757F386CF4C}"/>
              </a:ext>
            </a:extLst>
          </p:cNvPr>
          <p:cNvSpPr txBox="1"/>
          <p:nvPr/>
        </p:nvSpPr>
        <p:spPr>
          <a:xfrm>
            <a:off x="2521197" y="6440187"/>
            <a:ext cx="1124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print 1+</a:t>
            </a:r>
          </a:p>
        </p:txBody>
      </p:sp>
    </p:spTree>
    <p:extLst>
      <p:ext uri="{BB962C8B-B14F-4D97-AF65-F5344CB8AC3E}">
        <p14:creationId xmlns:p14="http://schemas.microsoft.com/office/powerpoint/2010/main" val="18775254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EA0B2F4-F11A-4A52-9321-DFD177D743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nhance Forecasting Proces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4A9B341-18AC-4E9A-855E-FDC701DC7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238594" name="Picture 2">
            <a:extLst>
              <a:ext uri="{FF2B5EF4-FFF2-40B4-BE49-F238E27FC236}">
                <a16:creationId xmlns:a16="http://schemas.microsoft.com/office/drawing/2014/main" id="{1A14C060-BEED-4DC2-9F4B-08F6733413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5060" y="3161926"/>
            <a:ext cx="534147" cy="534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12088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BC0A-BA81-4B04-B374-AA21C78AA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2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E60A8A2-9C25-42F3-80E2-E3D03D82E681}"/>
              </a:ext>
            </a:extLst>
          </p:cNvPr>
          <p:cNvGrpSpPr/>
          <p:nvPr/>
        </p:nvGrpSpPr>
        <p:grpSpPr>
          <a:xfrm>
            <a:off x="2194134" y="2075427"/>
            <a:ext cx="7803732" cy="1828800"/>
            <a:chOff x="1862782" y="2075427"/>
            <a:chExt cx="7803732" cy="1828800"/>
          </a:xfrm>
          <a:solidFill>
            <a:srgbClr val="00148C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F1A742-7299-42B2-8904-2357E24F6A68}"/>
                </a:ext>
              </a:extLst>
            </p:cNvPr>
            <p:cNvSpPr/>
            <p:nvPr/>
          </p:nvSpPr>
          <p:spPr>
            <a:xfrm>
              <a:off x="3111644" y="2075427"/>
              <a:ext cx="1828800" cy="1828800"/>
            </a:xfrm>
            <a:prstGeom prst="rect">
              <a:avLst/>
            </a:prstGeom>
            <a:grpFill/>
            <a:ln w="63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49B275D-3261-400A-9BDA-13C21E90DC25}"/>
                </a:ext>
              </a:extLst>
            </p:cNvPr>
            <p:cNvSpPr/>
            <p:nvPr/>
          </p:nvSpPr>
          <p:spPr>
            <a:xfrm>
              <a:off x="6588852" y="2075427"/>
              <a:ext cx="1828800" cy="1828800"/>
            </a:xfrm>
            <a:prstGeom prst="rect">
              <a:avLst/>
            </a:prstGeom>
            <a:grpFill/>
            <a:ln w="63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751B07B0-D806-4E53-ADBB-429E1697B811}"/>
                </a:ext>
              </a:extLst>
            </p:cNvPr>
            <p:cNvCxnSpPr>
              <a:cxnSpLocks/>
            </p:cNvCxnSpPr>
            <p:nvPr/>
          </p:nvCxnSpPr>
          <p:spPr>
            <a:xfrm>
              <a:off x="1862782" y="2989827"/>
              <a:ext cx="849316" cy="0"/>
            </a:xfrm>
            <a:prstGeom prst="line">
              <a:avLst/>
            </a:prstGeom>
            <a:grpFill/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D982A8F-EF7F-4328-9FB9-2056BA6F3062}"/>
                </a:ext>
              </a:extLst>
            </p:cNvPr>
            <p:cNvCxnSpPr>
              <a:cxnSpLocks/>
            </p:cNvCxnSpPr>
            <p:nvPr/>
          </p:nvCxnSpPr>
          <p:spPr>
            <a:xfrm>
              <a:off x="5339990" y="2989827"/>
              <a:ext cx="849316" cy="0"/>
            </a:xfrm>
            <a:prstGeom prst="line">
              <a:avLst/>
            </a:prstGeom>
            <a:grpFill/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4B0BB2DF-3C18-44FA-9EE2-A1D390BF6AEB}"/>
                </a:ext>
              </a:extLst>
            </p:cNvPr>
            <p:cNvCxnSpPr>
              <a:cxnSpLocks/>
            </p:cNvCxnSpPr>
            <p:nvPr/>
          </p:nvCxnSpPr>
          <p:spPr>
            <a:xfrm>
              <a:off x="8817198" y="2989827"/>
              <a:ext cx="849316" cy="0"/>
            </a:xfrm>
            <a:prstGeom prst="line">
              <a:avLst/>
            </a:prstGeom>
            <a:grpFill/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F346E7EE-6B91-40D0-99AD-3B417F7E30E8}"/>
              </a:ext>
            </a:extLst>
          </p:cNvPr>
          <p:cNvSpPr/>
          <p:nvPr/>
        </p:nvSpPr>
        <p:spPr>
          <a:xfrm>
            <a:off x="3670878" y="4029642"/>
            <a:ext cx="133882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dirty="0"/>
              <a:t>Summ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992FC3-9BDC-4107-A127-619CF6A88CB5}"/>
              </a:ext>
            </a:extLst>
          </p:cNvPr>
          <p:cNvSpPr/>
          <p:nvPr/>
        </p:nvSpPr>
        <p:spPr>
          <a:xfrm>
            <a:off x="7331907" y="4029642"/>
            <a:ext cx="10054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dirty="0"/>
              <a:t>Details</a:t>
            </a:r>
          </a:p>
        </p:txBody>
      </p:sp>
      <p:pic>
        <p:nvPicPr>
          <p:cNvPr id="232450" name="Picture 2">
            <a:extLst>
              <a:ext uri="{FF2B5EF4-FFF2-40B4-BE49-F238E27FC236}">
                <a16:creationId xmlns:a16="http://schemas.microsoft.com/office/drawing/2014/main" id="{695E52CC-E8CE-4D32-86A8-0708A49551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7882" y="2390312"/>
            <a:ext cx="1199028" cy="1199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2452" name="Picture 4">
            <a:extLst>
              <a:ext uri="{FF2B5EF4-FFF2-40B4-BE49-F238E27FC236}">
                <a16:creationId xmlns:a16="http://schemas.microsoft.com/office/drawing/2014/main" id="{0E10F28E-94BC-4B32-8839-E6CD49533E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0700" y="2560643"/>
            <a:ext cx="858366" cy="858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83345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2B2E1C-9F01-4C2C-9347-D1B8CB498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16ED63-D811-46E4-A028-94FDD24C82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riching components – data &amp; algorithms</a:t>
            </a: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5BD099F5-139E-4DAD-A204-9665FF063B64}"/>
              </a:ext>
            </a:extLst>
          </p:cNvPr>
          <p:cNvSpPr/>
          <p:nvPr/>
        </p:nvSpPr>
        <p:spPr>
          <a:xfrm rot="10800000">
            <a:off x="11277145" y="0"/>
            <a:ext cx="914400" cy="914400"/>
          </a:xfrm>
          <a:prstGeom prst="rtTriangle">
            <a:avLst/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A06D20BA-07BD-40A0-A6C4-467AFE17EF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34345" y="34365"/>
            <a:ext cx="374074" cy="374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CA3AA13-D457-46C5-BE03-5384FB612D98}"/>
              </a:ext>
            </a:extLst>
          </p:cNvPr>
          <p:cNvSpPr/>
          <p:nvPr/>
        </p:nvSpPr>
        <p:spPr>
          <a:xfrm>
            <a:off x="247880" y="1097057"/>
            <a:ext cx="496482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/>
              <a:t>Data enrichment can occur through the inclusion of data sources such as … </a:t>
            </a:r>
            <a:endParaRPr lang="en-US" sz="10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CD1CD7-FD89-45A8-883C-9133C47C2651}"/>
              </a:ext>
            </a:extLst>
          </p:cNvPr>
          <p:cNvSpPr/>
          <p:nvPr/>
        </p:nvSpPr>
        <p:spPr>
          <a:xfrm>
            <a:off x="6322290" y="1119122"/>
            <a:ext cx="577273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/>
              <a:t>… and algorithm enrichment can occur by evaluating output from algorithms including … </a:t>
            </a:r>
            <a:endParaRPr lang="en-US" sz="1000" dirty="0"/>
          </a:p>
        </p:txBody>
      </p:sp>
      <p:graphicFrame>
        <p:nvGraphicFramePr>
          <p:cNvPr id="12" name="Table 13">
            <a:extLst>
              <a:ext uri="{FF2B5EF4-FFF2-40B4-BE49-F238E27FC236}">
                <a16:creationId xmlns:a16="http://schemas.microsoft.com/office/drawing/2014/main" id="{C24503CD-3190-4B60-80C3-62E22C894E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7103072"/>
              </p:ext>
            </p:extLst>
          </p:nvPr>
        </p:nvGraphicFramePr>
        <p:xfrm>
          <a:off x="328706" y="1391383"/>
          <a:ext cx="5384800" cy="5116526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463048">
                  <a:extLst>
                    <a:ext uri="{9D8B030D-6E8A-4147-A177-3AD203B41FA5}">
                      <a16:colId xmlns:a16="http://schemas.microsoft.com/office/drawing/2014/main" val="2320996968"/>
                    </a:ext>
                  </a:extLst>
                </a:gridCol>
                <a:gridCol w="1680416">
                  <a:extLst>
                    <a:ext uri="{9D8B030D-6E8A-4147-A177-3AD203B41FA5}">
                      <a16:colId xmlns:a16="http://schemas.microsoft.com/office/drawing/2014/main" val="2754353645"/>
                    </a:ext>
                  </a:extLst>
                </a:gridCol>
                <a:gridCol w="3241336">
                  <a:extLst>
                    <a:ext uri="{9D8B030D-6E8A-4147-A177-3AD203B41FA5}">
                      <a16:colId xmlns:a16="http://schemas.microsoft.com/office/drawing/2014/main" val="1755433446"/>
                    </a:ext>
                  </a:extLst>
                </a:gridCol>
              </a:tblGrid>
              <a:tr h="701815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148C"/>
                          </a:solidFill>
                        </a:rPr>
                        <a:t>#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148C"/>
                          </a:solidFill>
                        </a:rPr>
                        <a:t>Data Type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148C"/>
                          </a:solidFill>
                        </a:rPr>
                        <a:t>Example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880635"/>
                  </a:ext>
                </a:extLst>
              </a:tr>
              <a:tr h="1520599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1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>
                          <a:solidFill>
                            <a:srgbClr val="00148C"/>
                          </a:solidFill>
                        </a:rPr>
                        <a:t>Population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Size</a:t>
                      </a:r>
                    </a:p>
                    <a:p>
                      <a:pPr marL="342900" indent="-342900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Age distributions</a:t>
                      </a:r>
                    </a:p>
                    <a:p>
                      <a:pPr marL="342900" indent="-342900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Find similar towns around the globe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1567737"/>
                  </a:ext>
                </a:extLst>
              </a:tr>
              <a:tr h="2894112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>
                          <a:solidFill>
                            <a:srgbClr val="00148C"/>
                          </a:solidFill>
                        </a:rPr>
                        <a:t>Other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1313" indent="-341313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Lock-down period start</a:t>
                      </a:r>
                    </a:p>
                    <a:p>
                      <a:pPr marL="341313" indent="-341313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Degree of lock-down</a:t>
                      </a:r>
                    </a:p>
                    <a:p>
                      <a:pPr marL="341313" indent="-341313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Exposed individuals and Susceptible Individual movements 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2729929"/>
                  </a:ext>
                </a:extLst>
              </a:tr>
            </a:tbl>
          </a:graphicData>
        </a:graphic>
      </p:graphicFrame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D2F2CEBC-A4AE-4747-8FB3-DC9F33DC7C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7486737"/>
              </p:ext>
            </p:extLst>
          </p:nvPr>
        </p:nvGraphicFramePr>
        <p:xfrm>
          <a:off x="6406777" y="1409668"/>
          <a:ext cx="5384800" cy="5006579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463048">
                  <a:extLst>
                    <a:ext uri="{9D8B030D-6E8A-4147-A177-3AD203B41FA5}">
                      <a16:colId xmlns:a16="http://schemas.microsoft.com/office/drawing/2014/main" val="2320996968"/>
                    </a:ext>
                  </a:extLst>
                </a:gridCol>
                <a:gridCol w="1680416">
                  <a:extLst>
                    <a:ext uri="{9D8B030D-6E8A-4147-A177-3AD203B41FA5}">
                      <a16:colId xmlns:a16="http://schemas.microsoft.com/office/drawing/2014/main" val="2754353645"/>
                    </a:ext>
                  </a:extLst>
                </a:gridCol>
                <a:gridCol w="3241336">
                  <a:extLst>
                    <a:ext uri="{9D8B030D-6E8A-4147-A177-3AD203B41FA5}">
                      <a16:colId xmlns:a16="http://schemas.microsoft.com/office/drawing/2014/main" val="1755433446"/>
                    </a:ext>
                  </a:extLst>
                </a:gridCol>
              </a:tblGrid>
              <a:tr h="413511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148C"/>
                          </a:solidFill>
                        </a:rPr>
                        <a:t>#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148C"/>
                          </a:solidFill>
                        </a:rPr>
                        <a:t>Algo. Type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148C"/>
                          </a:solidFill>
                        </a:rPr>
                        <a:t>Example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880635"/>
                  </a:ext>
                </a:extLst>
              </a:tr>
              <a:tr h="2651112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1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>
                          <a:solidFill>
                            <a:srgbClr val="00148C"/>
                          </a:solidFill>
                        </a:rPr>
                        <a:t>Explainable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Naïve (Moving average)</a:t>
                      </a:r>
                    </a:p>
                    <a:p>
                      <a:pPr marL="342900" indent="-342900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Multi-variate regression</a:t>
                      </a:r>
                    </a:p>
                    <a:p>
                      <a:pPr marL="342900" marR="0" lvl="0" indent="-34290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Decision tree</a:t>
                      </a:r>
                    </a:p>
                    <a:p>
                      <a:pPr marL="342900" marR="0" lvl="0" indent="-34290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Exponential Smoothing</a:t>
                      </a:r>
                    </a:p>
                    <a:p>
                      <a:pPr marL="342900" marR="0" lvl="0" indent="-34290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ARIMA</a:t>
                      </a:r>
                    </a:p>
                    <a:p>
                      <a:pPr marL="342900" marR="0" lvl="0" indent="-34290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ARIMAX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1567737"/>
                  </a:ext>
                </a:extLst>
              </a:tr>
              <a:tr h="1941956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>
                          <a:solidFill>
                            <a:srgbClr val="00148C"/>
                          </a:solidFill>
                        </a:rPr>
                        <a:t>Blackbox (with SHAP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Multi-variate scenarios (with exogenous variables)</a:t>
                      </a:r>
                    </a:p>
                    <a:p>
                      <a:pPr marL="342900" indent="-342900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Random Forest</a:t>
                      </a:r>
                    </a:p>
                    <a:p>
                      <a:pPr marL="342900" indent="-342900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 err="1">
                          <a:solidFill>
                            <a:srgbClr val="00148C"/>
                          </a:solidFill>
                        </a:rPr>
                        <a:t>Adaboost</a:t>
                      </a:r>
                      <a:endParaRPr lang="en-US" sz="1200" b="0" dirty="0">
                        <a:solidFill>
                          <a:srgbClr val="00148C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653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21085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EA0B2F4-F11A-4A52-9321-DFD177D743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ppendix – Files in pack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4A9B341-18AC-4E9A-855E-FDC701DC7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238594" name="Picture 2">
            <a:extLst>
              <a:ext uri="{FF2B5EF4-FFF2-40B4-BE49-F238E27FC236}">
                <a16:creationId xmlns:a16="http://schemas.microsoft.com/office/drawing/2014/main" id="{1A14C060-BEED-4DC2-9F4B-08F6733413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5060" y="3161926"/>
            <a:ext cx="534147" cy="534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54833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9914A8-638C-410C-B391-F6EEAC7B9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649D0D-18DA-4991-A11C-2D9070CD2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s in the package</a:t>
            </a:r>
          </a:p>
        </p:txBody>
      </p:sp>
      <p:graphicFrame>
        <p:nvGraphicFramePr>
          <p:cNvPr id="5" name="Table 13">
            <a:extLst>
              <a:ext uri="{FF2B5EF4-FFF2-40B4-BE49-F238E27FC236}">
                <a16:creationId xmlns:a16="http://schemas.microsoft.com/office/drawing/2014/main" id="{729F0998-A9C8-46DA-8D93-B534973DA6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1775492"/>
              </p:ext>
            </p:extLst>
          </p:nvPr>
        </p:nvGraphicFramePr>
        <p:xfrm>
          <a:off x="346841" y="907026"/>
          <a:ext cx="11422119" cy="5221990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329876">
                  <a:extLst>
                    <a:ext uri="{9D8B030D-6E8A-4147-A177-3AD203B41FA5}">
                      <a16:colId xmlns:a16="http://schemas.microsoft.com/office/drawing/2014/main" val="2320996968"/>
                    </a:ext>
                  </a:extLst>
                </a:gridCol>
                <a:gridCol w="2149623">
                  <a:extLst>
                    <a:ext uri="{9D8B030D-6E8A-4147-A177-3AD203B41FA5}">
                      <a16:colId xmlns:a16="http://schemas.microsoft.com/office/drawing/2014/main" val="2754353645"/>
                    </a:ext>
                  </a:extLst>
                </a:gridCol>
                <a:gridCol w="3173440">
                  <a:extLst>
                    <a:ext uri="{9D8B030D-6E8A-4147-A177-3AD203B41FA5}">
                      <a16:colId xmlns:a16="http://schemas.microsoft.com/office/drawing/2014/main" val="3026520106"/>
                    </a:ext>
                  </a:extLst>
                </a:gridCol>
                <a:gridCol w="5769180">
                  <a:extLst>
                    <a:ext uri="{9D8B030D-6E8A-4147-A177-3AD203B41FA5}">
                      <a16:colId xmlns:a16="http://schemas.microsoft.com/office/drawing/2014/main" val="1755433446"/>
                    </a:ext>
                  </a:extLst>
                </a:gridCol>
              </a:tblGrid>
              <a:tr h="306919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148C"/>
                          </a:solidFill>
                        </a:rPr>
                        <a:t>#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rgbClr val="00148C"/>
                          </a:solidFill>
                        </a:rPr>
                        <a:t>Component 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rgbClr val="00148C"/>
                          </a:solidFill>
                        </a:rPr>
                        <a:t>File(s)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rgbClr val="00148C"/>
                          </a:solidFill>
                        </a:rPr>
                        <a:t>Purpose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880635"/>
                  </a:ext>
                </a:extLst>
              </a:tr>
              <a:tr h="971246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1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Git Clone &amp; Daily Pull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Time_series_covid19_confirmed_us.csv</a:t>
                      </a:r>
                    </a:p>
                    <a:p>
                      <a:pPr marL="342900" marR="0" lvl="0" indent="-34290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Time_series_covid19_deaths_us.csv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u="none" dirty="0">
                          <a:solidFill>
                            <a:schemeClr val="tx1"/>
                          </a:solidFill>
                        </a:rPr>
                        <a:t>Raw data (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github.com/CSSEGISandData/COVID-19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1567737"/>
                  </a:ext>
                </a:extLst>
              </a:tr>
              <a:tr h="971246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Data Prep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01_parse_covid_data.ipynb</a:t>
                      </a: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02_create_modeling_data_set.ipynb</a:t>
                      </a: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03_build_lstm_model.ipynb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Load data into SQL (for posterity)</a:t>
                      </a:r>
                    </a:p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Prepare data</a:t>
                      </a:r>
                    </a:p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Leverage output from data &amp; model in Dash / Other viz. tool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653986"/>
                  </a:ext>
                </a:extLst>
              </a:tr>
              <a:tr h="971246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Data (&amp; Result)</a:t>
                      </a:r>
                    </a:p>
                    <a:p>
                      <a:pPr algn="l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Exploratio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04_app.py (Launches a dashboard on the Web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Understand the various dimensions of data</a:t>
                      </a:r>
                    </a:p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Use dimensions to infer patterns and improve forecasting algorithm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2729929"/>
                  </a:ext>
                </a:extLst>
              </a:tr>
              <a:tr h="971246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4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Output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Covid19_2020_04_05.csv</a:t>
                      </a: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Covid_ms_data.xlsx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The modeling dataset for data prepared till 04/05/2020</a:t>
                      </a:r>
                    </a:p>
                    <a:p>
                      <a:pPr algn="l"/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The output of LSTM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252133"/>
                  </a:ext>
                </a:extLst>
              </a:tr>
              <a:tr h="971246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Discussio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05_corona_trend_mvp_2020_04_05_v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This deck to summarize insights for broader discussio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29747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47026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2AE0788-B236-4F14-BF92-C9BA09505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62FB5B-74CA-4521-BF2F-242F1E793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52293EB3-C084-46F0-98AC-8B7E8894FF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8660623"/>
              </p:ext>
            </p:extLst>
          </p:nvPr>
        </p:nvGraphicFramePr>
        <p:xfrm>
          <a:off x="322729" y="1163935"/>
          <a:ext cx="8504518" cy="47854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7012">
                  <a:extLst>
                    <a:ext uri="{9D8B030D-6E8A-4147-A177-3AD203B41FA5}">
                      <a16:colId xmlns:a16="http://schemas.microsoft.com/office/drawing/2014/main" val="1793440646"/>
                    </a:ext>
                  </a:extLst>
                </a:gridCol>
                <a:gridCol w="1775012">
                  <a:extLst>
                    <a:ext uri="{9D8B030D-6E8A-4147-A177-3AD203B41FA5}">
                      <a16:colId xmlns:a16="http://schemas.microsoft.com/office/drawing/2014/main" val="2924912583"/>
                    </a:ext>
                  </a:extLst>
                </a:gridCol>
                <a:gridCol w="5462494">
                  <a:extLst>
                    <a:ext uri="{9D8B030D-6E8A-4147-A177-3AD203B41FA5}">
                      <a16:colId xmlns:a16="http://schemas.microsoft.com/office/drawing/2014/main" val="976718324"/>
                    </a:ext>
                  </a:extLst>
                </a:gridCol>
              </a:tblGrid>
              <a:tr h="1595149">
                <a:tc>
                  <a:txBody>
                    <a:bodyPr/>
                    <a:lstStyle/>
                    <a:p>
                      <a:pPr algn="r"/>
                      <a:endParaRPr lang="en-US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/>
                        <a:t>Objectiv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200" dirty="0"/>
                        <a:t>Build forecasts for COVID19 disease progression using Deep Learning Method (LSTM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9559026"/>
                  </a:ext>
                </a:extLst>
              </a:tr>
              <a:tr h="1595149">
                <a:tc>
                  <a:txBody>
                    <a:bodyPr/>
                    <a:lstStyle/>
                    <a:p>
                      <a:pPr algn="r"/>
                      <a:endParaRPr lang="en-US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/>
                        <a:t>Complica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dirty="0"/>
                        <a:t>3253 trends in 58 states (one trend per town)</a:t>
                      </a:r>
                    </a:p>
                    <a:p>
                      <a:pPr marL="228600" indent="-228600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dirty="0"/>
                        <a:t>77 days of data (2020/01/22 – 2020/04/07)</a:t>
                      </a:r>
                    </a:p>
                    <a:p>
                      <a:pPr marL="228600" indent="-228600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dirty="0"/>
                        <a:t>Uni-variate (temporal) data for forecast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9008183"/>
                  </a:ext>
                </a:extLst>
              </a:tr>
              <a:tr h="1595149">
                <a:tc>
                  <a:txBody>
                    <a:bodyPr/>
                    <a:lstStyle/>
                    <a:p>
                      <a:pPr algn="r"/>
                      <a:endParaRPr lang="en-US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/>
                        <a:t>Approac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endParaRPr lang="en-US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3445763"/>
                  </a:ext>
                </a:extLst>
              </a:tr>
            </a:tbl>
          </a:graphicData>
        </a:graphic>
      </p:graphicFrame>
      <p:pic>
        <p:nvPicPr>
          <p:cNvPr id="233474" name="Picture 2">
            <a:extLst>
              <a:ext uri="{FF2B5EF4-FFF2-40B4-BE49-F238E27FC236}">
                <a16:creationId xmlns:a16="http://schemas.microsoft.com/office/drawing/2014/main" id="{285C7AA2-141D-471B-8677-CF53AC42B0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501" y="1364877"/>
            <a:ext cx="1127311" cy="1127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3476" name="Picture 4">
            <a:extLst>
              <a:ext uri="{FF2B5EF4-FFF2-40B4-BE49-F238E27FC236}">
                <a16:creationId xmlns:a16="http://schemas.microsoft.com/office/drawing/2014/main" id="{F1E6F4CF-896F-4774-9F3C-EFB4669ED3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12" y="3028839"/>
            <a:ext cx="904688" cy="904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3478" name="Picture 6">
            <a:extLst>
              <a:ext uri="{FF2B5EF4-FFF2-40B4-BE49-F238E27FC236}">
                <a16:creationId xmlns:a16="http://schemas.microsoft.com/office/drawing/2014/main" id="{148B6261-298B-48D0-84FB-F79D62800A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855" y="4774810"/>
            <a:ext cx="962603" cy="962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rrow: Pentagon 4">
            <a:extLst>
              <a:ext uri="{FF2B5EF4-FFF2-40B4-BE49-F238E27FC236}">
                <a16:creationId xmlns:a16="http://schemas.microsoft.com/office/drawing/2014/main" id="{CEE7F1FB-E40F-4D2E-A103-49D09030ED08}"/>
              </a:ext>
            </a:extLst>
          </p:cNvPr>
          <p:cNvSpPr/>
          <p:nvPr/>
        </p:nvSpPr>
        <p:spPr>
          <a:xfrm>
            <a:off x="3401269" y="4665642"/>
            <a:ext cx="1709271" cy="472141"/>
          </a:xfrm>
          <a:prstGeom prst="homePlate">
            <a:avLst>
              <a:gd name="adj" fmla="val 27215"/>
            </a:avLst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nderstand</a:t>
            </a:r>
          </a:p>
          <a:p>
            <a:pPr algn="ctr"/>
            <a:r>
              <a:rPr lang="en-US" sz="1100" dirty="0"/>
              <a:t>data</a:t>
            </a: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D4014CBC-656C-4D5B-BD1D-27074D935F82}"/>
              </a:ext>
            </a:extLst>
          </p:cNvPr>
          <p:cNvSpPr/>
          <p:nvPr/>
        </p:nvSpPr>
        <p:spPr>
          <a:xfrm>
            <a:off x="5038164" y="4665642"/>
            <a:ext cx="1984187" cy="472141"/>
          </a:xfrm>
          <a:prstGeom prst="chevron">
            <a:avLst>
              <a:gd name="adj" fmla="val 25949"/>
            </a:avLst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Build MVP</a:t>
            </a:r>
          </a:p>
          <a:p>
            <a:pPr algn="ctr"/>
            <a:r>
              <a:rPr lang="en-US" sz="1050" dirty="0">
                <a:solidFill>
                  <a:schemeClr val="bg1"/>
                </a:solidFill>
              </a:rPr>
              <a:t>using 1 algorithm</a:t>
            </a: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EC111735-6115-4CD7-983F-A0B3BB5A856D}"/>
              </a:ext>
            </a:extLst>
          </p:cNvPr>
          <p:cNvSpPr/>
          <p:nvPr/>
        </p:nvSpPr>
        <p:spPr>
          <a:xfrm>
            <a:off x="6976212" y="4665642"/>
            <a:ext cx="1709271" cy="472141"/>
          </a:xfrm>
          <a:prstGeom prst="chevron">
            <a:avLst>
              <a:gd name="adj" fmla="val 25949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hance</a:t>
            </a:r>
          </a:p>
          <a:p>
            <a:pPr algn="ctr"/>
            <a:r>
              <a:rPr lang="en-US" sz="1050" dirty="0">
                <a:solidFill>
                  <a:schemeClr val="bg1">
                    <a:lumMod val="50000"/>
                  </a:schemeClr>
                </a:solidFill>
              </a:rPr>
              <a:t>Forecasting Proc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3E780D-00B0-44FC-B692-4BE35AF223AA}"/>
              </a:ext>
            </a:extLst>
          </p:cNvPr>
          <p:cNvSpPr txBox="1"/>
          <p:nvPr/>
        </p:nvSpPr>
        <p:spPr>
          <a:xfrm>
            <a:off x="3307317" y="5149692"/>
            <a:ext cx="1683034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7013" indent="-227013">
              <a:spcAft>
                <a:spcPts val="600"/>
              </a:spcAft>
              <a:buFont typeface="+mj-lt"/>
              <a:buAutoNum type="arabicPeriod"/>
            </a:pPr>
            <a:r>
              <a:rPr lang="en-US" sz="1200" dirty="0"/>
              <a:t>Create Modeling Dataset</a:t>
            </a:r>
          </a:p>
          <a:p>
            <a:pPr marL="227013" indent="-227013">
              <a:spcAft>
                <a:spcPts val="600"/>
              </a:spcAft>
              <a:buFont typeface="+mj-lt"/>
              <a:buAutoNum type="arabicPeriod"/>
            </a:pPr>
            <a:r>
              <a:rPr lang="en-US" sz="1200" dirty="0"/>
              <a:t>Distributions</a:t>
            </a:r>
          </a:p>
          <a:p>
            <a:pPr marL="227013" indent="-227013">
              <a:spcAft>
                <a:spcPts val="600"/>
              </a:spcAft>
              <a:buFont typeface="+mj-lt"/>
              <a:buAutoNum type="arabicPeriod"/>
            </a:pPr>
            <a:r>
              <a:rPr lang="en-US" sz="1200" dirty="0"/>
              <a:t>Temporal trends</a:t>
            </a:r>
          </a:p>
          <a:p>
            <a:pPr marL="227013" indent="-227013">
              <a:spcAft>
                <a:spcPts val="600"/>
              </a:spcAft>
              <a:buFont typeface="+mj-lt"/>
              <a:buAutoNum type="arabicPeriod"/>
            </a:pPr>
            <a:r>
              <a:rPr lang="en-US" sz="1200" dirty="0"/>
              <a:t>Build Dash framework to visualize dat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2B06B41-1943-4C9D-B412-597C66ABA4F4}"/>
              </a:ext>
            </a:extLst>
          </p:cNvPr>
          <p:cNvSpPr txBox="1"/>
          <p:nvPr/>
        </p:nvSpPr>
        <p:spPr>
          <a:xfrm>
            <a:off x="4963091" y="5149692"/>
            <a:ext cx="20293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7013" indent="-227013">
              <a:spcAft>
                <a:spcPts val="600"/>
              </a:spcAft>
              <a:buFont typeface="+mj-lt"/>
              <a:buAutoNum type="arabicPeriod"/>
            </a:pPr>
            <a:r>
              <a:rPr lang="en-US" sz="1200" dirty="0"/>
              <a:t>LSTM on 1 tre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B51ABA-6042-4337-9C13-4E88F35FFB9A}"/>
              </a:ext>
            </a:extLst>
          </p:cNvPr>
          <p:cNvSpPr txBox="1"/>
          <p:nvPr/>
        </p:nvSpPr>
        <p:spPr>
          <a:xfrm>
            <a:off x="6897857" y="5149692"/>
            <a:ext cx="1709271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7013" indent="-227013">
              <a:spcAft>
                <a:spcPts val="600"/>
              </a:spcAft>
              <a:buFont typeface="+mj-lt"/>
              <a:buAutoNum type="arabicPeriod"/>
            </a:pPr>
            <a:r>
              <a:rPr lang="en-US" sz="1200" b="1" dirty="0">
                <a:solidFill>
                  <a:schemeClr val="bg1">
                    <a:lumMod val="65000"/>
                  </a:schemeClr>
                </a:solidFill>
              </a:rPr>
              <a:t>Data enrichment</a:t>
            </a:r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  (exogenous data)</a:t>
            </a:r>
          </a:p>
          <a:p>
            <a:pPr marL="227013" indent="-227013">
              <a:spcAft>
                <a:spcPts val="600"/>
              </a:spcAft>
              <a:buFont typeface="+mj-lt"/>
              <a:buAutoNum type="arabicPeriod"/>
            </a:pPr>
            <a:r>
              <a:rPr lang="en-US" sz="1200" b="1" dirty="0">
                <a:solidFill>
                  <a:schemeClr val="bg1">
                    <a:lumMod val="65000"/>
                  </a:schemeClr>
                </a:solidFill>
              </a:rPr>
              <a:t>Algorithm enrichment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06D2DC-FB56-4CD8-8B79-C77098DA5AC9}"/>
              </a:ext>
            </a:extLst>
          </p:cNvPr>
          <p:cNvCxnSpPr>
            <a:cxnSpLocks/>
          </p:cNvCxnSpPr>
          <p:nvPr/>
        </p:nvCxnSpPr>
        <p:spPr>
          <a:xfrm>
            <a:off x="3401269" y="4496187"/>
            <a:ext cx="3441790" cy="0"/>
          </a:xfrm>
          <a:prstGeom prst="line">
            <a:avLst/>
          </a:prstGeom>
          <a:ln>
            <a:solidFill>
              <a:srgbClr val="00148C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FA911DA9-968E-461B-855B-D8A2B15A4FF8}"/>
              </a:ext>
            </a:extLst>
          </p:cNvPr>
          <p:cNvSpPr txBox="1"/>
          <p:nvPr/>
        </p:nvSpPr>
        <p:spPr>
          <a:xfrm>
            <a:off x="4403597" y="4365382"/>
            <a:ext cx="1664238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>
                <a:solidFill>
                  <a:srgbClr val="00148C"/>
                </a:solidFill>
              </a:rPr>
              <a:t>  Current Deliverable  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E4428A1-B820-4011-A63B-80E0322BC313}"/>
              </a:ext>
            </a:extLst>
          </p:cNvPr>
          <p:cNvCxnSpPr>
            <a:cxnSpLocks/>
          </p:cNvCxnSpPr>
          <p:nvPr/>
        </p:nvCxnSpPr>
        <p:spPr>
          <a:xfrm>
            <a:off x="7022351" y="4496187"/>
            <a:ext cx="1551306" cy="0"/>
          </a:xfrm>
          <a:prstGeom prst="line">
            <a:avLst/>
          </a:prstGeom>
          <a:ln>
            <a:solidFill>
              <a:srgbClr val="00148C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69A6279-D465-493C-A507-8982B3B53D4E}"/>
              </a:ext>
            </a:extLst>
          </p:cNvPr>
          <p:cNvSpPr txBox="1"/>
          <p:nvPr/>
        </p:nvSpPr>
        <p:spPr>
          <a:xfrm>
            <a:off x="7333579" y="4365382"/>
            <a:ext cx="1061509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>
                    <a:lumMod val="65000"/>
                  </a:schemeClr>
                </a:solidFill>
              </a:rPr>
              <a:t>  Next Phase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2CB5807-D8BE-4D81-B187-9DC49860EA91}"/>
              </a:ext>
            </a:extLst>
          </p:cNvPr>
          <p:cNvSpPr txBox="1"/>
          <p:nvPr/>
        </p:nvSpPr>
        <p:spPr>
          <a:xfrm>
            <a:off x="247880" y="827953"/>
            <a:ext cx="80833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/>
              <a:t>To better understand disease progression, we’ve developed a robust (and extensible) MVP forecasting engine using Deep Learning Method (LSTM) …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C1E1FC8-298A-46D3-B4DC-4183A13E5EDD}"/>
              </a:ext>
            </a:extLst>
          </p:cNvPr>
          <p:cNvSpPr txBox="1"/>
          <p:nvPr/>
        </p:nvSpPr>
        <p:spPr>
          <a:xfrm>
            <a:off x="8943095" y="758235"/>
            <a:ext cx="23455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 … with the following insights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5746D3E-80D1-41FB-805E-0EB9F4D58A41}"/>
              </a:ext>
            </a:extLst>
          </p:cNvPr>
          <p:cNvSpPr txBox="1"/>
          <p:nvPr/>
        </p:nvSpPr>
        <p:spPr>
          <a:xfrm>
            <a:off x="9017659" y="4365382"/>
            <a:ext cx="292363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arenBoth"/>
            </a:pPr>
            <a:r>
              <a:rPr lang="en-US" sz="1000" b="1" i="1" dirty="0"/>
              <a:t>Accuracy = </a:t>
            </a:r>
            <a:r>
              <a:rPr lang="en-US" sz="1000" i="1" dirty="0"/>
              <a:t>1 – abs(RMSE / Actual Volume)</a:t>
            </a:r>
            <a:endParaRPr lang="en-US" sz="1000" b="1" i="1" dirty="0"/>
          </a:p>
          <a:p>
            <a:endParaRPr lang="en-US" sz="1000" b="1" i="1" dirty="0"/>
          </a:p>
          <a:p>
            <a:pPr marL="227013" lvl="1"/>
            <a:r>
              <a:rPr lang="en-US" sz="1000" b="1" i="1" dirty="0"/>
              <a:t>RMSE</a:t>
            </a:r>
            <a:r>
              <a:rPr lang="en-US" sz="1000" i="1" dirty="0"/>
              <a:t> = Root Mean Square Error, a measure of how good the forecasts are in out-of-time hold-out days (1 week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A50F85B-7ED8-4352-8F85-13F931A1056B}"/>
              </a:ext>
            </a:extLst>
          </p:cNvPr>
          <p:cNvSpPr txBox="1"/>
          <p:nvPr/>
        </p:nvSpPr>
        <p:spPr>
          <a:xfrm>
            <a:off x="9060330" y="2078401"/>
            <a:ext cx="292363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Accuracy using LSTM on trend for Middlesex county using 7 hold-out days = </a:t>
            </a:r>
            <a:r>
              <a:rPr lang="en-US" sz="1400" b="1" i="1" dirty="0"/>
              <a:t>86%</a:t>
            </a:r>
          </a:p>
          <a:p>
            <a:pPr marL="342900" indent="-342900">
              <a:buAutoNum type="arabicParenR"/>
            </a:pPr>
            <a:endParaRPr lang="en-US" sz="1400" b="1" i="1" dirty="0"/>
          </a:p>
          <a:p>
            <a:pPr marL="342900" indent="-342900">
              <a:buAutoNum type="arabicParenR"/>
            </a:pPr>
            <a:r>
              <a:rPr lang="en-US" sz="1400" i="1" dirty="0"/>
              <a:t>The lower accuracies are in the recent days, where the trend seems to be getting better</a:t>
            </a:r>
          </a:p>
          <a:p>
            <a:pPr marL="342900" indent="-342900">
              <a:buAutoNum type="arabicParenR"/>
            </a:pPr>
            <a:endParaRPr lang="en-US" sz="1400" b="1" i="1" dirty="0"/>
          </a:p>
        </p:txBody>
      </p:sp>
    </p:spTree>
    <p:extLst>
      <p:ext uri="{BB962C8B-B14F-4D97-AF65-F5344CB8AC3E}">
        <p14:creationId xmlns:p14="http://schemas.microsoft.com/office/powerpoint/2010/main" val="24565618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EA199C-3BA2-4C6D-ADA9-21E995E49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F1D4F4-BF83-41D7-8839-59A435CAF5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ual trend vs. predicted using LST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CA67F9-3EA6-4585-8E87-5DFF3EAA1B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3740" y="1414998"/>
            <a:ext cx="7951483" cy="4240791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E4217615-4D9F-47EA-AE2A-C1876F394304}"/>
              </a:ext>
            </a:extLst>
          </p:cNvPr>
          <p:cNvCxnSpPr>
            <a:cxnSpLocks/>
          </p:cNvCxnSpPr>
          <p:nvPr/>
        </p:nvCxnSpPr>
        <p:spPr>
          <a:xfrm flipH="1">
            <a:off x="8099385" y="2294965"/>
            <a:ext cx="939572" cy="159940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4FEA3BA2-452D-4014-A183-D00E97800016}"/>
              </a:ext>
            </a:extLst>
          </p:cNvPr>
          <p:cNvSpPr/>
          <p:nvPr/>
        </p:nvSpPr>
        <p:spPr>
          <a:xfrm>
            <a:off x="9038957" y="1577742"/>
            <a:ext cx="269538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i="1" dirty="0"/>
              <a:t>The difference between actual vs. predicted incidence (where actual incidence is lower) is a good thing.</a:t>
            </a:r>
          </a:p>
        </p:txBody>
      </p:sp>
    </p:spTree>
    <p:extLst>
      <p:ext uri="{BB962C8B-B14F-4D97-AF65-F5344CB8AC3E}">
        <p14:creationId xmlns:p14="http://schemas.microsoft.com/office/powerpoint/2010/main" val="16924246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BC0A-BA81-4B04-B374-AA21C78AA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5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E60A8A2-9C25-42F3-80E2-E3D03D82E681}"/>
              </a:ext>
            </a:extLst>
          </p:cNvPr>
          <p:cNvGrpSpPr/>
          <p:nvPr/>
        </p:nvGrpSpPr>
        <p:grpSpPr>
          <a:xfrm>
            <a:off x="2194134" y="2075427"/>
            <a:ext cx="7803732" cy="1828800"/>
            <a:chOff x="1862782" y="2075427"/>
            <a:chExt cx="7803732" cy="1828800"/>
          </a:xfrm>
          <a:solidFill>
            <a:srgbClr val="00148C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F1A742-7299-42B2-8904-2357E24F6A68}"/>
                </a:ext>
              </a:extLst>
            </p:cNvPr>
            <p:cNvSpPr/>
            <p:nvPr/>
          </p:nvSpPr>
          <p:spPr>
            <a:xfrm>
              <a:off x="3111644" y="2075427"/>
              <a:ext cx="1828800" cy="1828800"/>
            </a:xfrm>
            <a:prstGeom prst="rect">
              <a:avLst/>
            </a:prstGeom>
            <a:grpFill/>
            <a:ln w="63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49B275D-3261-400A-9BDA-13C21E90DC25}"/>
                </a:ext>
              </a:extLst>
            </p:cNvPr>
            <p:cNvSpPr/>
            <p:nvPr/>
          </p:nvSpPr>
          <p:spPr>
            <a:xfrm>
              <a:off x="6588852" y="2075427"/>
              <a:ext cx="1828800" cy="1828800"/>
            </a:xfrm>
            <a:prstGeom prst="rect">
              <a:avLst/>
            </a:prstGeom>
            <a:grpFill/>
            <a:ln w="63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751B07B0-D806-4E53-ADBB-429E1697B811}"/>
                </a:ext>
              </a:extLst>
            </p:cNvPr>
            <p:cNvCxnSpPr>
              <a:cxnSpLocks/>
            </p:cNvCxnSpPr>
            <p:nvPr/>
          </p:nvCxnSpPr>
          <p:spPr>
            <a:xfrm>
              <a:off x="1862782" y="2989827"/>
              <a:ext cx="849316" cy="0"/>
            </a:xfrm>
            <a:prstGeom prst="line">
              <a:avLst/>
            </a:prstGeom>
            <a:grpFill/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D982A8F-EF7F-4328-9FB9-2056BA6F3062}"/>
                </a:ext>
              </a:extLst>
            </p:cNvPr>
            <p:cNvCxnSpPr>
              <a:cxnSpLocks/>
            </p:cNvCxnSpPr>
            <p:nvPr/>
          </p:nvCxnSpPr>
          <p:spPr>
            <a:xfrm>
              <a:off x="5339990" y="2989827"/>
              <a:ext cx="849316" cy="0"/>
            </a:xfrm>
            <a:prstGeom prst="line">
              <a:avLst/>
            </a:prstGeom>
            <a:grpFill/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4B0BB2DF-3C18-44FA-9EE2-A1D390BF6AEB}"/>
                </a:ext>
              </a:extLst>
            </p:cNvPr>
            <p:cNvCxnSpPr>
              <a:cxnSpLocks/>
            </p:cNvCxnSpPr>
            <p:nvPr/>
          </p:nvCxnSpPr>
          <p:spPr>
            <a:xfrm>
              <a:off x="8817198" y="2989827"/>
              <a:ext cx="849316" cy="0"/>
            </a:xfrm>
            <a:prstGeom prst="line">
              <a:avLst/>
            </a:prstGeom>
            <a:grpFill/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F346E7EE-6B91-40D0-99AD-3B417F7E30E8}"/>
              </a:ext>
            </a:extLst>
          </p:cNvPr>
          <p:cNvSpPr/>
          <p:nvPr/>
        </p:nvSpPr>
        <p:spPr>
          <a:xfrm>
            <a:off x="3670878" y="4029642"/>
            <a:ext cx="133882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dirty="0"/>
              <a:t>Summ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992FC3-9BDC-4107-A127-619CF6A88CB5}"/>
              </a:ext>
            </a:extLst>
          </p:cNvPr>
          <p:cNvSpPr/>
          <p:nvPr/>
        </p:nvSpPr>
        <p:spPr>
          <a:xfrm>
            <a:off x="7331907" y="4029642"/>
            <a:ext cx="10054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dirty="0"/>
              <a:t>Details</a:t>
            </a:r>
          </a:p>
        </p:txBody>
      </p:sp>
      <p:pic>
        <p:nvPicPr>
          <p:cNvPr id="232450" name="Picture 2">
            <a:extLst>
              <a:ext uri="{FF2B5EF4-FFF2-40B4-BE49-F238E27FC236}">
                <a16:creationId xmlns:a16="http://schemas.microsoft.com/office/drawing/2014/main" id="{695E52CC-E8CE-4D32-86A8-0708A49551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7882" y="2390312"/>
            <a:ext cx="1199028" cy="1199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2452" name="Picture 4">
            <a:extLst>
              <a:ext uri="{FF2B5EF4-FFF2-40B4-BE49-F238E27FC236}">
                <a16:creationId xmlns:a16="http://schemas.microsoft.com/office/drawing/2014/main" id="{0E10F28E-94BC-4B32-8839-E6CD49533E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0700" y="2560643"/>
            <a:ext cx="858366" cy="858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97299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EA0B2F4-F11A-4A52-9321-DFD177D743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nderstand Data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4A9B341-18AC-4E9A-855E-FDC701DC7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234498" name="Picture 2">
            <a:extLst>
              <a:ext uri="{FF2B5EF4-FFF2-40B4-BE49-F238E27FC236}">
                <a16:creationId xmlns:a16="http://schemas.microsoft.com/office/drawing/2014/main" id="{5C63082E-953A-47E8-865B-F043D26D0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2083" y="3095438"/>
            <a:ext cx="667124" cy="667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57523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2B24AF0-C939-43DE-A74E-8EB5D4DF87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173" y="909951"/>
            <a:ext cx="7597223" cy="50380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 layout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1876097" y="1064171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013216" y="900004"/>
            <a:ext cx="3702534" cy="504804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When this dashboard is launched from the command line, one can view the results in a web-browser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The 1</a:t>
            </a:r>
            <a:r>
              <a:rPr lang="en-US" sz="1400" i="1" baseline="30000" dirty="0"/>
              <a:t>st</a:t>
            </a:r>
            <a:r>
              <a:rPr lang="en-US" sz="1400" i="1" dirty="0"/>
              <a:t> tab is a summary snapshot of the latest trends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The 2</a:t>
            </a:r>
            <a:r>
              <a:rPr lang="en-US" sz="1400" i="1" baseline="30000" dirty="0"/>
              <a:t>nd</a:t>
            </a:r>
            <a:r>
              <a:rPr lang="en-US" sz="1400" i="1" dirty="0"/>
              <a:t>  tab has an US-level view of high-risk states/counties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The 3</a:t>
            </a:r>
            <a:r>
              <a:rPr lang="en-US" sz="1400" i="1" baseline="30000" dirty="0"/>
              <a:t>rd</a:t>
            </a:r>
            <a:r>
              <a:rPr lang="en-US" sz="1400" i="1" dirty="0"/>
              <a:t> tab has a State-County level view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Over-time trends allow one to compare trends across towns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The data tab allows one to parse through the data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endParaRPr lang="en-US" sz="1400" i="1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CB31073-24FF-4E14-967C-121982EA104D}"/>
              </a:ext>
            </a:extLst>
          </p:cNvPr>
          <p:cNvSpPr/>
          <p:nvPr/>
        </p:nvSpPr>
        <p:spPr>
          <a:xfrm>
            <a:off x="430760" y="1594420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3A07F59-9C20-4F66-BAEC-E45761FA8C95}"/>
              </a:ext>
            </a:extLst>
          </p:cNvPr>
          <p:cNvSpPr/>
          <p:nvPr/>
        </p:nvSpPr>
        <p:spPr>
          <a:xfrm>
            <a:off x="1876097" y="1594420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722F98C-F563-455C-90F9-53010012A5A0}"/>
              </a:ext>
            </a:extLst>
          </p:cNvPr>
          <p:cNvSpPr/>
          <p:nvPr/>
        </p:nvSpPr>
        <p:spPr>
          <a:xfrm>
            <a:off x="3215870" y="1594420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0A33EB0-0AC0-4E46-921B-B29AF333E689}"/>
              </a:ext>
            </a:extLst>
          </p:cNvPr>
          <p:cNvSpPr/>
          <p:nvPr/>
        </p:nvSpPr>
        <p:spPr>
          <a:xfrm>
            <a:off x="4628702" y="1616854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5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79DE500-531F-4A3E-8589-6428F817E078}"/>
              </a:ext>
            </a:extLst>
          </p:cNvPr>
          <p:cNvSpPr/>
          <p:nvPr/>
        </p:nvSpPr>
        <p:spPr>
          <a:xfrm>
            <a:off x="6074039" y="1616854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447674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B614B8E-C132-4E9A-B7D0-6068EF2E53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642" y="900003"/>
            <a:ext cx="7555947" cy="5010726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 View –incidence counts on latest day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1876097" y="1064171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013216" y="900004"/>
            <a:ext cx="3702534" cy="501072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US-level view (only looking at the high risk states / towns)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The user has the ability to change the metric and view to get to the latest trends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endParaRPr lang="en-US" sz="1400" i="1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CB31073-24FF-4E14-967C-121982EA104D}"/>
              </a:ext>
            </a:extLst>
          </p:cNvPr>
          <p:cNvSpPr/>
          <p:nvPr/>
        </p:nvSpPr>
        <p:spPr>
          <a:xfrm>
            <a:off x="6891551" y="2729592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3A07F59-9C20-4F66-BAEC-E45761FA8C95}"/>
              </a:ext>
            </a:extLst>
          </p:cNvPr>
          <p:cNvSpPr/>
          <p:nvPr/>
        </p:nvSpPr>
        <p:spPr>
          <a:xfrm>
            <a:off x="4137616" y="3222485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5016210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5F4571A-1871-4AE3-A9C9-25D277FA40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643" y="894606"/>
            <a:ext cx="7302690" cy="484277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e View (grain = town)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2975876" y="1548639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013216" y="900004"/>
            <a:ext cx="3702534" cy="483738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State high risk town tab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Contextual filtering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Towns rank ordered by metric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The metric value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CB31073-24FF-4E14-967C-121982EA104D}"/>
              </a:ext>
            </a:extLst>
          </p:cNvPr>
          <p:cNvSpPr/>
          <p:nvPr/>
        </p:nvSpPr>
        <p:spPr>
          <a:xfrm>
            <a:off x="6096000" y="2528131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3A07F59-9C20-4F66-BAEC-E45761FA8C95}"/>
              </a:ext>
            </a:extLst>
          </p:cNvPr>
          <p:cNvSpPr/>
          <p:nvPr/>
        </p:nvSpPr>
        <p:spPr>
          <a:xfrm>
            <a:off x="110490" y="3246120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3419667-8A51-4EE8-9C7F-5F2D6643CA02}"/>
              </a:ext>
            </a:extLst>
          </p:cNvPr>
          <p:cNvSpPr/>
          <p:nvPr/>
        </p:nvSpPr>
        <p:spPr>
          <a:xfrm>
            <a:off x="2792996" y="3246120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989732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NTMgtRJGz_DZrTxTS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NTMgtRJGz_DZrTxTS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NTMgtRJGz_DZrTxTSw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NTMgtRJGz_DZrTxTS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NTMgtRJGz_DZrTxTS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ekQGPOQSWZacw0wvdO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jYfapNSfSB.6hie9jh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ekQGPOQSWZacw0wvdO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ekQGPOQSWZacw0wvdO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ekQGPOQSWZacw0wvdOSw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522</TotalTime>
  <Words>1036</Words>
  <Application>Microsoft Office PowerPoint</Application>
  <PresentationFormat>Widescreen</PresentationFormat>
  <Paragraphs>241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Arial</vt:lpstr>
      <vt:lpstr>Bookman Old Style</vt:lpstr>
      <vt:lpstr>Calibri</vt:lpstr>
      <vt:lpstr>Century Gothic</vt:lpstr>
      <vt:lpstr>1_Office Theme</vt:lpstr>
      <vt:lpstr>think-cell Slide</vt:lpstr>
      <vt:lpstr>PowerPoint Presentation</vt:lpstr>
      <vt:lpstr>PowerPoint Presentation</vt:lpstr>
      <vt:lpstr>Executive Summary</vt:lpstr>
      <vt:lpstr>Actual trend vs. predicted using LSTM</vt:lpstr>
      <vt:lpstr>PowerPoint Presentation</vt:lpstr>
      <vt:lpstr>Understand Data</vt:lpstr>
      <vt:lpstr>Dashboard layout</vt:lpstr>
      <vt:lpstr>US View –incidence counts on latest day</vt:lpstr>
      <vt:lpstr>State View (grain = town)</vt:lpstr>
      <vt:lpstr>State View (grain = town) – population</vt:lpstr>
      <vt:lpstr>State View – cumulative incidence till 04/07/2020</vt:lpstr>
      <vt:lpstr>Town trend – incidence trend over time</vt:lpstr>
      <vt:lpstr>Town trend – incidence trend over time</vt:lpstr>
      <vt:lpstr>Town trend – incidence increase over time</vt:lpstr>
      <vt:lpstr>Town trend – incidence increase over time</vt:lpstr>
      <vt:lpstr>Data in a data-table</vt:lpstr>
      <vt:lpstr>Build MVP</vt:lpstr>
      <vt:lpstr>Algorithm development steps</vt:lpstr>
      <vt:lpstr>Enhance Forecasting Process</vt:lpstr>
      <vt:lpstr>Enriching components – data &amp; algorithms</vt:lpstr>
      <vt:lpstr>Appendix – Files in package</vt:lpstr>
      <vt:lpstr>Files in the package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lla, Vishwa</dc:creator>
  <cp:lastModifiedBy>Vishwa Kolla</cp:lastModifiedBy>
  <cp:revision>2440</cp:revision>
  <dcterms:created xsi:type="dcterms:W3CDTF">2019-01-26T18:14:04Z</dcterms:created>
  <dcterms:modified xsi:type="dcterms:W3CDTF">2020-04-08T21:54:12Z</dcterms:modified>
</cp:coreProperties>
</file>